
<file path=[Content_Types].xml><?xml version="1.0" encoding="utf-8"?>
<Types xmlns="http://schemas.openxmlformats.org/package/2006/content-types">
  <Default Extension="png" ContentType="image/png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</p:sldMasterIdLst>
  <p:notesMasterIdLst>
    <p:notesMasterId r:id="rId23"/>
  </p:notesMasterIdLst>
  <p:handoutMasterIdLst>
    <p:handoutMasterId r:id="rId24"/>
  </p:handoutMasterIdLst>
  <p:sldIdLst>
    <p:sldId id="264" r:id="rId2"/>
    <p:sldId id="262" r:id="rId3"/>
    <p:sldId id="258" r:id="rId4"/>
    <p:sldId id="259" r:id="rId5"/>
    <p:sldId id="260" r:id="rId6"/>
    <p:sldId id="275" r:id="rId7"/>
    <p:sldId id="276" r:id="rId8"/>
    <p:sldId id="266" r:id="rId9"/>
    <p:sldId id="273" r:id="rId10"/>
    <p:sldId id="295" r:id="rId11"/>
    <p:sldId id="296" r:id="rId12"/>
    <p:sldId id="261" r:id="rId13"/>
    <p:sldId id="298" r:id="rId14"/>
    <p:sldId id="297" r:id="rId15"/>
    <p:sldId id="299" r:id="rId16"/>
    <p:sldId id="267" r:id="rId17"/>
    <p:sldId id="300" r:id="rId18"/>
    <p:sldId id="301" r:id="rId19"/>
    <p:sldId id="302" r:id="rId20"/>
    <p:sldId id="303" r:id="rId21"/>
    <p:sldId id="294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1981"/>
    <a:srgbClr val="FF437D"/>
    <a:srgbClr val="F9D28B"/>
    <a:srgbClr val="F8C86E"/>
    <a:srgbClr val="9C6708"/>
    <a:srgbClr val="F4A71C"/>
    <a:srgbClr val="57CCC6"/>
    <a:srgbClr val="E2586C"/>
    <a:srgbClr val="66B4C8"/>
    <a:srgbClr val="E981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097" autoAdjust="0"/>
    <p:restoredTop sz="94570" autoAdjust="0"/>
  </p:normalViewPr>
  <p:slideViewPr>
    <p:cSldViewPr snapToGrid="0">
      <p:cViewPr>
        <p:scale>
          <a:sx n="69" d="100"/>
          <a:sy n="69" d="100"/>
        </p:scale>
        <p:origin x="-978" y="-11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5" d="100"/>
          <a:sy n="65" d="100"/>
        </p:scale>
        <p:origin x="2208" y="6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Relationship Id="rId4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sr-Latn-R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2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</c:dPt>
          <c:dPt>
            <c:idx val="3"/>
            <c:bubble3D val="0"/>
            <c:spPr>
              <a:solidFill>
                <a:schemeClr val="bg1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3</c:v>
                </c:pt>
                <c:pt idx="1">
                  <c:v>3</c:v>
                </c:pt>
                <c:pt idx="2">
                  <c:v>3</c:v>
                </c:pt>
                <c:pt idx="3">
                  <c:v>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8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sr-Latn-RS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4256</cdr:x>
      <cdr:y>0.13189</cdr:y>
    </cdr:from>
    <cdr:to>
      <cdr:x>0.75407</cdr:x>
      <cdr:y>0.87568</cdr:y>
    </cdr:to>
    <cdr:sp macro="" textlink="">
      <cdr:nvSpPr>
        <cdr:cNvPr id="2" name="Oval 1"/>
        <cdr:cNvSpPr/>
      </cdr:nvSpPr>
      <cdr:spPr>
        <a:xfrm xmlns:a="http://schemas.openxmlformats.org/drawingml/2006/main">
          <a:off x="1156333" y="432396"/>
          <a:ext cx="2438474" cy="2438482"/>
        </a:xfrm>
        <a:prstGeom xmlns:a="http://schemas.openxmlformats.org/drawingml/2006/main" prst="ellipse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US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17DA96-57A7-4017-99EB-A62409E108C8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9484FB4-214B-4EA2-AE03-C7BAF97B9D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48063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F42D2E-EDE4-43BF-8E59-4753749E27E6}" type="datetimeFigureOut">
              <a:rPr lang="en-US" smtClean="0"/>
              <a:t>3/2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CF12027-F336-42FB-886E-8F343D18B0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64416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CF12027-F336-42FB-886E-8F343D18B07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7066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7285"/>
            <a:ext cx="10896600" cy="72707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Bebas Neue" panose="020B0606020202050201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900" y="1201511"/>
            <a:ext cx="10896600" cy="435133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93500" y="6492875"/>
            <a:ext cx="698500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596900" y="0"/>
            <a:ext cx="731072" cy="185255"/>
            <a:chOff x="-374958" y="1010653"/>
            <a:chExt cx="1835087" cy="914400"/>
          </a:xfrm>
        </p:grpSpPr>
        <p:sp>
          <p:nvSpPr>
            <p:cNvPr id="8" name="Rectangle 7"/>
            <p:cNvSpPr/>
            <p:nvPr userDrawn="1"/>
          </p:nvSpPr>
          <p:spPr>
            <a:xfrm>
              <a:off x="-374958" y="1010653"/>
              <a:ext cx="914400" cy="9144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545728" y="1010653"/>
              <a:ext cx="914401" cy="9144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4126323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8802005" y="1323126"/>
            <a:ext cx="2175810" cy="4593324"/>
            <a:chOff x="4404176" y="1781631"/>
            <a:chExt cx="2175810" cy="4593324"/>
          </a:xfrm>
        </p:grpSpPr>
        <p:grpSp>
          <p:nvGrpSpPr>
            <p:cNvPr id="11" name="Group 10"/>
            <p:cNvGrpSpPr/>
            <p:nvPr/>
          </p:nvGrpSpPr>
          <p:grpSpPr>
            <a:xfrm>
              <a:off x="5877387" y="1781631"/>
              <a:ext cx="352055" cy="28706"/>
              <a:chOff x="3605212" y="133352"/>
              <a:chExt cx="369888" cy="30160"/>
            </a:xfrm>
          </p:grpSpPr>
          <p:sp>
            <p:nvSpPr>
              <p:cNvPr id="51" name="Freeform 12"/>
              <p:cNvSpPr>
                <a:spLocks/>
              </p:cNvSpPr>
              <p:nvPr/>
            </p:nvSpPr>
            <p:spPr bwMode="auto">
              <a:xfrm>
                <a:off x="3617912" y="133352"/>
                <a:ext cx="346075" cy="19050"/>
              </a:xfrm>
              <a:custGeom>
                <a:avLst/>
                <a:gdLst>
                  <a:gd name="T0" fmla="*/ 36 w 1309"/>
                  <a:gd name="T1" fmla="*/ 0 h 74"/>
                  <a:gd name="T2" fmla="*/ 1272 w 1309"/>
                  <a:gd name="T3" fmla="*/ 0 h 74"/>
                  <a:gd name="T4" fmla="*/ 1280 w 1309"/>
                  <a:gd name="T5" fmla="*/ 1 h 74"/>
                  <a:gd name="T6" fmla="*/ 1286 w 1309"/>
                  <a:gd name="T7" fmla="*/ 3 h 74"/>
                  <a:gd name="T8" fmla="*/ 1292 w 1309"/>
                  <a:gd name="T9" fmla="*/ 7 h 74"/>
                  <a:gd name="T10" fmla="*/ 1298 w 1309"/>
                  <a:gd name="T11" fmla="*/ 11 h 74"/>
                  <a:gd name="T12" fmla="*/ 1302 w 1309"/>
                  <a:gd name="T13" fmla="*/ 16 h 74"/>
                  <a:gd name="T14" fmla="*/ 1306 w 1309"/>
                  <a:gd name="T15" fmla="*/ 23 h 74"/>
                  <a:gd name="T16" fmla="*/ 1308 w 1309"/>
                  <a:gd name="T17" fmla="*/ 30 h 74"/>
                  <a:gd name="T18" fmla="*/ 1309 w 1309"/>
                  <a:gd name="T19" fmla="*/ 38 h 74"/>
                  <a:gd name="T20" fmla="*/ 1309 w 1309"/>
                  <a:gd name="T21" fmla="*/ 38 h 74"/>
                  <a:gd name="T22" fmla="*/ 1308 w 1309"/>
                  <a:gd name="T23" fmla="*/ 44 h 74"/>
                  <a:gd name="T24" fmla="*/ 1306 w 1309"/>
                  <a:gd name="T25" fmla="*/ 51 h 74"/>
                  <a:gd name="T26" fmla="*/ 1302 w 1309"/>
                  <a:gd name="T27" fmla="*/ 58 h 74"/>
                  <a:gd name="T28" fmla="*/ 1298 w 1309"/>
                  <a:gd name="T29" fmla="*/ 64 h 74"/>
                  <a:gd name="T30" fmla="*/ 1292 w 1309"/>
                  <a:gd name="T31" fmla="*/ 67 h 74"/>
                  <a:gd name="T32" fmla="*/ 1286 w 1309"/>
                  <a:gd name="T33" fmla="*/ 71 h 74"/>
                  <a:gd name="T34" fmla="*/ 1280 w 1309"/>
                  <a:gd name="T35" fmla="*/ 73 h 74"/>
                  <a:gd name="T36" fmla="*/ 1272 w 1309"/>
                  <a:gd name="T37" fmla="*/ 74 h 74"/>
                  <a:gd name="T38" fmla="*/ 36 w 1309"/>
                  <a:gd name="T39" fmla="*/ 74 h 74"/>
                  <a:gd name="T40" fmla="*/ 30 w 1309"/>
                  <a:gd name="T41" fmla="*/ 73 h 74"/>
                  <a:gd name="T42" fmla="*/ 23 w 1309"/>
                  <a:gd name="T43" fmla="*/ 71 h 74"/>
                  <a:gd name="T44" fmla="*/ 16 w 1309"/>
                  <a:gd name="T45" fmla="*/ 67 h 74"/>
                  <a:gd name="T46" fmla="*/ 10 w 1309"/>
                  <a:gd name="T47" fmla="*/ 64 h 74"/>
                  <a:gd name="T48" fmla="*/ 6 w 1309"/>
                  <a:gd name="T49" fmla="*/ 58 h 74"/>
                  <a:gd name="T50" fmla="*/ 2 w 1309"/>
                  <a:gd name="T51" fmla="*/ 51 h 74"/>
                  <a:gd name="T52" fmla="*/ 1 w 1309"/>
                  <a:gd name="T53" fmla="*/ 44 h 74"/>
                  <a:gd name="T54" fmla="*/ 0 w 1309"/>
                  <a:gd name="T55" fmla="*/ 38 h 74"/>
                  <a:gd name="T56" fmla="*/ 0 w 1309"/>
                  <a:gd name="T57" fmla="*/ 38 h 74"/>
                  <a:gd name="T58" fmla="*/ 1 w 1309"/>
                  <a:gd name="T59" fmla="*/ 30 h 74"/>
                  <a:gd name="T60" fmla="*/ 2 w 1309"/>
                  <a:gd name="T61" fmla="*/ 23 h 74"/>
                  <a:gd name="T62" fmla="*/ 6 w 1309"/>
                  <a:gd name="T63" fmla="*/ 16 h 74"/>
                  <a:gd name="T64" fmla="*/ 10 w 1309"/>
                  <a:gd name="T65" fmla="*/ 11 h 74"/>
                  <a:gd name="T66" fmla="*/ 16 w 1309"/>
                  <a:gd name="T67" fmla="*/ 7 h 74"/>
                  <a:gd name="T68" fmla="*/ 23 w 1309"/>
                  <a:gd name="T69" fmla="*/ 3 h 74"/>
                  <a:gd name="T70" fmla="*/ 30 w 1309"/>
                  <a:gd name="T71" fmla="*/ 1 h 74"/>
                  <a:gd name="T72" fmla="*/ 36 w 1309"/>
                  <a:gd name="T73" fmla="*/ 0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309" h="74">
                    <a:moveTo>
                      <a:pt x="36" y="0"/>
                    </a:moveTo>
                    <a:lnTo>
                      <a:pt x="1272" y="0"/>
                    </a:lnTo>
                    <a:lnTo>
                      <a:pt x="1280" y="1"/>
                    </a:lnTo>
                    <a:lnTo>
                      <a:pt x="1286" y="3"/>
                    </a:lnTo>
                    <a:lnTo>
                      <a:pt x="1292" y="7"/>
                    </a:lnTo>
                    <a:lnTo>
                      <a:pt x="1298" y="11"/>
                    </a:lnTo>
                    <a:lnTo>
                      <a:pt x="1302" y="16"/>
                    </a:lnTo>
                    <a:lnTo>
                      <a:pt x="1306" y="23"/>
                    </a:lnTo>
                    <a:lnTo>
                      <a:pt x="1308" y="30"/>
                    </a:lnTo>
                    <a:lnTo>
                      <a:pt x="1309" y="38"/>
                    </a:lnTo>
                    <a:lnTo>
                      <a:pt x="1309" y="38"/>
                    </a:lnTo>
                    <a:lnTo>
                      <a:pt x="1308" y="44"/>
                    </a:lnTo>
                    <a:lnTo>
                      <a:pt x="1306" y="51"/>
                    </a:lnTo>
                    <a:lnTo>
                      <a:pt x="1302" y="58"/>
                    </a:lnTo>
                    <a:lnTo>
                      <a:pt x="1298" y="64"/>
                    </a:lnTo>
                    <a:lnTo>
                      <a:pt x="1292" y="67"/>
                    </a:lnTo>
                    <a:lnTo>
                      <a:pt x="1286" y="71"/>
                    </a:lnTo>
                    <a:lnTo>
                      <a:pt x="1280" y="73"/>
                    </a:lnTo>
                    <a:lnTo>
                      <a:pt x="1272" y="74"/>
                    </a:lnTo>
                    <a:lnTo>
                      <a:pt x="36" y="74"/>
                    </a:lnTo>
                    <a:lnTo>
                      <a:pt x="30" y="73"/>
                    </a:lnTo>
                    <a:lnTo>
                      <a:pt x="23" y="71"/>
                    </a:lnTo>
                    <a:lnTo>
                      <a:pt x="16" y="67"/>
                    </a:lnTo>
                    <a:lnTo>
                      <a:pt x="10" y="64"/>
                    </a:lnTo>
                    <a:lnTo>
                      <a:pt x="6" y="58"/>
                    </a:lnTo>
                    <a:lnTo>
                      <a:pt x="2" y="51"/>
                    </a:lnTo>
                    <a:lnTo>
                      <a:pt x="1" y="44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1" y="30"/>
                    </a:lnTo>
                    <a:lnTo>
                      <a:pt x="2" y="23"/>
                    </a:lnTo>
                    <a:lnTo>
                      <a:pt x="6" y="16"/>
                    </a:lnTo>
                    <a:lnTo>
                      <a:pt x="10" y="11"/>
                    </a:lnTo>
                    <a:lnTo>
                      <a:pt x="16" y="7"/>
                    </a:lnTo>
                    <a:lnTo>
                      <a:pt x="23" y="3"/>
                    </a:lnTo>
                    <a:lnTo>
                      <a:pt x="30" y="1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chemeClr val="bg1">
                  <a:lumMod val="6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2" name="Rectangle 13"/>
              <p:cNvSpPr>
                <a:spLocks noChangeArrowheads="1"/>
              </p:cNvSpPr>
              <p:nvPr/>
            </p:nvSpPr>
            <p:spPr bwMode="auto">
              <a:xfrm>
                <a:off x="3605212" y="142874"/>
                <a:ext cx="369888" cy="20638"/>
              </a:xfrm>
              <a:prstGeom prst="rect">
                <a:avLst/>
              </a:prstGeom>
              <a:solidFill>
                <a:schemeClr val="bg1">
                  <a:lumMod val="50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12" name="Group 11"/>
            <p:cNvGrpSpPr/>
            <p:nvPr/>
          </p:nvGrpSpPr>
          <p:grpSpPr>
            <a:xfrm>
              <a:off x="4404176" y="2437389"/>
              <a:ext cx="28695" cy="965500"/>
              <a:chOff x="2057454" y="822328"/>
              <a:chExt cx="30149" cy="1014410"/>
            </a:xfrm>
          </p:grpSpPr>
          <p:sp>
            <p:nvSpPr>
              <p:cNvPr id="45" name="Freeform 6"/>
              <p:cNvSpPr>
                <a:spLocks/>
              </p:cNvSpPr>
              <p:nvPr/>
            </p:nvSpPr>
            <p:spPr bwMode="auto">
              <a:xfrm>
                <a:off x="2057478" y="828677"/>
                <a:ext cx="19050" cy="200025"/>
              </a:xfrm>
              <a:custGeom>
                <a:avLst/>
                <a:gdLst>
                  <a:gd name="T0" fmla="*/ 0 w 74"/>
                  <a:gd name="T1" fmla="*/ 723 h 760"/>
                  <a:gd name="T2" fmla="*/ 0 w 74"/>
                  <a:gd name="T3" fmla="*/ 37 h 760"/>
                  <a:gd name="T4" fmla="*/ 1 w 74"/>
                  <a:gd name="T5" fmla="*/ 29 h 760"/>
                  <a:gd name="T6" fmla="*/ 3 w 74"/>
                  <a:gd name="T7" fmla="*/ 22 h 760"/>
                  <a:gd name="T8" fmla="*/ 7 w 74"/>
                  <a:gd name="T9" fmla="*/ 16 h 760"/>
                  <a:gd name="T10" fmla="*/ 11 w 74"/>
                  <a:gd name="T11" fmla="*/ 11 h 760"/>
                  <a:gd name="T12" fmla="*/ 16 w 74"/>
                  <a:gd name="T13" fmla="*/ 6 h 760"/>
                  <a:gd name="T14" fmla="*/ 23 w 74"/>
                  <a:gd name="T15" fmla="*/ 3 h 760"/>
                  <a:gd name="T16" fmla="*/ 30 w 74"/>
                  <a:gd name="T17" fmla="*/ 1 h 760"/>
                  <a:gd name="T18" fmla="*/ 38 w 74"/>
                  <a:gd name="T19" fmla="*/ 0 h 760"/>
                  <a:gd name="T20" fmla="*/ 38 w 74"/>
                  <a:gd name="T21" fmla="*/ 0 h 760"/>
                  <a:gd name="T22" fmla="*/ 44 w 74"/>
                  <a:gd name="T23" fmla="*/ 1 h 760"/>
                  <a:gd name="T24" fmla="*/ 51 w 74"/>
                  <a:gd name="T25" fmla="*/ 3 h 760"/>
                  <a:gd name="T26" fmla="*/ 58 w 74"/>
                  <a:gd name="T27" fmla="*/ 6 h 760"/>
                  <a:gd name="T28" fmla="*/ 63 w 74"/>
                  <a:gd name="T29" fmla="*/ 11 h 760"/>
                  <a:gd name="T30" fmla="*/ 67 w 74"/>
                  <a:gd name="T31" fmla="*/ 16 h 760"/>
                  <a:gd name="T32" fmla="*/ 71 w 74"/>
                  <a:gd name="T33" fmla="*/ 22 h 760"/>
                  <a:gd name="T34" fmla="*/ 73 w 74"/>
                  <a:gd name="T35" fmla="*/ 29 h 760"/>
                  <a:gd name="T36" fmla="*/ 74 w 74"/>
                  <a:gd name="T37" fmla="*/ 37 h 760"/>
                  <a:gd name="T38" fmla="*/ 74 w 74"/>
                  <a:gd name="T39" fmla="*/ 723 h 760"/>
                  <a:gd name="T40" fmla="*/ 73 w 74"/>
                  <a:gd name="T41" fmla="*/ 730 h 760"/>
                  <a:gd name="T42" fmla="*/ 71 w 74"/>
                  <a:gd name="T43" fmla="*/ 738 h 760"/>
                  <a:gd name="T44" fmla="*/ 67 w 74"/>
                  <a:gd name="T45" fmla="*/ 744 h 760"/>
                  <a:gd name="T46" fmla="*/ 63 w 74"/>
                  <a:gd name="T47" fmla="*/ 750 h 760"/>
                  <a:gd name="T48" fmla="*/ 58 w 74"/>
                  <a:gd name="T49" fmla="*/ 754 h 760"/>
                  <a:gd name="T50" fmla="*/ 51 w 74"/>
                  <a:gd name="T51" fmla="*/ 758 h 760"/>
                  <a:gd name="T52" fmla="*/ 44 w 74"/>
                  <a:gd name="T53" fmla="*/ 760 h 760"/>
                  <a:gd name="T54" fmla="*/ 38 w 74"/>
                  <a:gd name="T55" fmla="*/ 760 h 760"/>
                  <a:gd name="T56" fmla="*/ 38 w 74"/>
                  <a:gd name="T57" fmla="*/ 760 h 760"/>
                  <a:gd name="T58" fmla="*/ 30 w 74"/>
                  <a:gd name="T59" fmla="*/ 760 h 760"/>
                  <a:gd name="T60" fmla="*/ 23 w 74"/>
                  <a:gd name="T61" fmla="*/ 758 h 760"/>
                  <a:gd name="T62" fmla="*/ 16 w 74"/>
                  <a:gd name="T63" fmla="*/ 754 h 760"/>
                  <a:gd name="T64" fmla="*/ 11 w 74"/>
                  <a:gd name="T65" fmla="*/ 750 h 760"/>
                  <a:gd name="T66" fmla="*/ 7 w 74"/>
                  <a:gd name="T67" fmla="*/ 744 h 760"/>
                  <a:gd name="T68" fmla="*/ 3 w 74"/>
                  <a:gd name="T69" fmla="*/ 738 h 760"/>
                  <a:gd name="T70" fmla="*/ 1 w 74"/>
                  <a:gd name="T71" fmla="*/ 730 h 760"/>
                  <a:gd name="T72" fmla="*/ 0 w 74"/>
                  <a:gd name="T73" fmla="*/ 723 h 7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4" h="760">
                    <a:moveTo>
                      <a:pt x="0" y="723"/>
                    </a:moveTo>
                    <a:lnTo>
                      <a:pt x="0" y="37"/>
                    </a:lnTo>
                    <a:lnTo>
                      <a:pt x="1" y="29"/>
                    </a:lnTo>
                    <a:lnTo>
                      <a:pt x="3" y="22"/>
                    </a:lnTo>
                    <a:lnTo>
                      <a:pt x="7" y="16"/>
                    </a:lnTo>
                    <a:lnTo>
                      <a:pt x="11" y="11"/>
                    </a:lnTo>
                    <a:lnTo>
                      <a:pt x="16" y="6"/>
                    </a:lnTo>
                    <a:lnTo>
                      <a:pt x="23" y="3"/>
                    </a:lnTo>
                    <a:lnTo>
                      <a:pt x="30" y="1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4" y="1"/>
                    </a:lnTo>
                    <a:lnTo>
                      <a:pt x="51" y="3"/>
                    </a:lnTo>
                    <a:lnTo>
                      <a:pt x="58" y="6"/>
                    </a:lnTo>
                    <a:lnTo>
                      <a:pt x="63" y="11"/>
                    </a:lnTo>
                    <a:lnTo>
                      <a:pt x="67" y="16"/>
                    </a:lnTo>
                    <a:lnTo>
                      <a:pt x="71" y="22"/>
                    </a:lnTo>
                    <a:lnTo>
                      <a:pt x="73" y="29"/>
                    </a:lnTo>
                    <a:lnTo>
                      <a:pt x="74" y="37"/>
                    </a:lnTo>
                    <a:lnTo>
                      <a:pt x="74" y="723"/>
                    </a:lnTo>
                    <a:lnTo>
                      <a:pt x="73" y="730"/>
                    </a:lnTo>
                    <a:lnTo>
                      <a:pt x="71" y="738"/>
                    </a:lnTo>
                    <a:lnTo>
                      <a:pt x="67" y="744"/>
                    </a:lnTo>
                    <a:lnTo>
                      <a:pt x="63" y="750"/>
                    </a:lnTo>
                    <a:lnTo>
                      <a:pt x="58" y="754"/>
                    </a:lnTo>
                    <a:lnTo>
                      <a:pt x="51" y="758"/>
                    </a:lnTo>
                    <a:lnTo>
                      <a:pt x="44" y="760"/>
                    </a:lnTo>
                    <a:lnTo>
                      <a:pt x="38" y="760"/>
                    </a:lnTo>
                    <a:lnTo>
                      <a:pt x="38" y="760"/>
                    </a:lnTo>
                    <a:lnTo>
                      <a:pt x="30" y="760"/>
                    </a:lnTo>
                    <a:lnTo>
                      <a:pt x="23" y="758"/>
                    </a:lnTo>
                    <a:lnTo>
                      <a:pt x="16" y="754"/>
                    </a:lnTo>
                    <a:lnTo>
                      <a:pt x="11" y="750"/>
                    </a:lnTo>
                    <a:lnTo>
                      <a:pt x="7" y="744"/>
                    </a:lnTo>
                    <a:lnTo>
                      <a:pt x="3" y="738"/>
                    </a:lnTo>
                    <a:lnTo>
                      <a:pt x="1" y="730"/>
                    </a:lnTo>
                    <a:lnTo>
                      <a:pt x="0" y="723"/>
                    </a:lnTo>
                    <a:close/>
                  </a:path>
                </a:pathLst>
              </a:custGeom>
              <a:gradFill flip="none" rotWithShape="1">
                <a:gsLst>
                  <a:gs pos="28744">
                    <a:schemeClr val="bg1">
                      <a:lumMod val="75000"/>
                    </a:schemeClr>
                  </a:gs>
                  <a:gs pos="78000">
                    <a:srgbClr val="060606"/>
                  </a:gs>
                  <a:gs pos="100000">
                    <a:srgbClr val="3C3C3C"/>
                  </a:gs>
                  <a:gs pos="10000">
                    <a:schemeClr val="bg1">
                      <a:lumMod val="50000"/>
                    </a:schemeClr>
                  </a:gs>
                  <a:gs pos="54000">
                    <a:schemeClr val="tx1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6" name="Freeform 7"/>
              <p:cNvSpPr>
                <a:spLocks/>
              </p:cNvSpPr>
              <p:nvPr/>
            </p:nvSpPr>
            <p:spPr bwMode="auto">
              <a:xfrm>
                <a:off x="2057454" y="1281117"/>
                <a:ext cx="19050" cy="155575"/>
              </a:xfrm>
              <a:custGeom>
                <a:avLst/>
                <a:gdLst>
                  <a:gd name="T0" fmla="*/ 0 w 74"/>
                  <a:gd name="T1" fmla="*/ 550 h 588"/>
                  <a:gd name="T2" fmla="*/ 0 w 74"/>
                  <a:gd name="T3" fmla="*/ 37 h 588"/>
                  <a:gd name="T4" fmla="*/ 1 w 74"/>
                  <a:gd name="T5" fmla="*/ 29 h 588"/>
                  <a:gd name="T6" fmla="*/ 3 w 74"/>
                  <a:gd name="T7" fmla="*/ 22 h 588"/>
                  <a:gd name="T8" fmla="*/ 7 w 74"/>
                  <a:gd name="T9" fmla="*/ 17 h 588"/>
                  <a:gd name="T10" fmla="*/ 11 w 74"/>
                  <a:gd name="T11" fmla="*/ 11 h 588"/>
                  <a:gd name="T12" fmla="*/ 16 w 74"/>
                  <a:gd name="T13" fmla="*/ 6 h 588"/>
                  <a:gd name="T14" fmla="*/ 23 w 74"/>
                  <a:gd name="T15" fmla="*/ 3 h 588"/>
                  <a:gd name="T16" fmla="*/ 30 w 74"/>
                  <a:gd name="T17" fmla="*/ 1 h 588"/>
                  <a:gd name="T18" fmla="*/ 38 w 74"/>
                  <a:gd name="T19" fmla="*/ 0 h 588"/>
                  <a:gd name="T20" fmla="*/ 38 w 74"/>
                  <a:gd name="T21" fmla="*/ 0 h 588"/>
                  <a:gd name="T22" fmla="*/ 44 w 74"/>
                  <a:gd name="T23" fmla="*/ 1 h 588"/>
                  <a:gd name="T24" fmla="*/ 51 w 74"/>
                  <a:gd name="T25" fmla="*/ 3 h 588"/>
                  <a:gd name="T26" fmla="*/ 58 w 74"/>
                  <a:gd name="T27" fmla="*/ 6 h 588"/>
                  <a:gd name="T28" fmla="*/ 63 w 74"/>
                  <a:gd name="T29" fmla="*/ 11 h 588"/>
                  <a:gd name="T30" fmla="*/ 67 w 74"/>
                  <a:gd name="T31" fmla="*/ 17 h 588"/>
                  <a:gd name="T32" fmla="*/ 71 w 74"/>
                  <a:gd name="T33" fmla="*/ 22 h 588"/>
                  <a:gd name="T34" fmla="*/ 73 w 74"/>
                  <a:gd name="T35" fmla="*/ 29 h 588"/>
                  <a:gd name="T36" fmla="*/ 74 w 74"/>
                  <a:gd name="T37" fmla="*/ 37 h 588"/>
                  <a:gd name="T38" fmla="*/ 74 w 74"/>
                  <a:gd name="T39" fmla="*/ 550 h 588"/>
                  <a:gd name="T40" fmla="*/ 73 w 74"/>
                  <a:gd name="T41" fmla="*/ 558 h 588"/>
                  <a:gd name="T42" fmla="*/ 71 w 74"/>
                  <a:gd name="T43" fmla="*/ 565 h 588"/>
                  <a:gd name="T44" fmla="*/ 67 w 74"/>
                  <a:gd name="T45" fmla="*/ 571 h 588"/>
                  <a:gd name="T46" fmla="*/ 63 w 74"/>
                  <a:gd name="T47" fmla="*/ 576 h 588"/>
                  <a:gd name="T48" fmla="*/ 58 w 74"/>
                  <a:gd name="T49" fmla="*/ 581 h 588"/>
                  <a:gd name="T50" fmla="*/ 51 w 74"/>
                  <a:gd name="T51" fmla="*/ 584 h 588"/>
                  <a:gd name="T52" fmla="*/ 44 w 74"/>
                  <a:gd name="T53" fmla="*/ 587 h 588"/>
                  <a:gd name="T54" fmla="*/ 38 w 74"/>
                  <a:gd name="T55" fmla="*/ 588 h 588"/>
                  <a:gd name="T56" fmla="*/ 38 w 74"/>
                  <a:gd name="T57" fmla="*/ 588 h 588"/>
                  <a:gd name="T58" fmla="*/ 30 w 74"/>
                  <a:gd name="T59" fmla="*/ 587 h 588"/>
                  <a:gd name="T60" fmla="*/ 23 w 74"/>
                  <a:gd name="T61" fmla="*/ 584 h 588"/>
                  <a:gd name="T62" fmla="*/ 16 w 74"/>
                  <a:gd name="T63" fmla="*/ 581 h 588"/>
                  <a:gd name="T64" fmla="*/ 11 w 74"/>
                  <a:gd name="T65" fmla="*/ 576 h 588"/>
                  <a:gd name="T66" fmla="*/ 7 w 74"/>
                  <a:gd name="T67" fmla="*/ 571 h 588"/>
                  <a:gd name="T68" fmla="*/ 3 w 74"/>
                  <a:gd name="T69" fmla="*/ 565 h 588"/>
                  <a:gd name="T70" fmla="*/ 1 w 74"/>
                  <a:gd name="T71" fmla="*/ 558 h 588"/>
                  <a:gd name="T72" fmla="*/ 0 w 74"/>
                  <a:gd name="T73" fmla="*/ 550 h 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4" h="588">
                    <a:moveTo>
                      <a:pt x="0" y="550"/>
                    </a:moveTo>
                    <a:lnTo>
                      <a:pt x="0" y="37"/>
                    </a:lnTo>
                    <a:lnTo>
                      <a:pt x="1" y="29"/>
                    </a:lnTo>
                    <a:lnTo>
                      <a:pt x="3" y="22"/>
                    </a:lnTo>
                    <a:lnTo>
                      <a:pt x="7" y="17"/>
                    </a:lnTo>
                    <a:lnTo>
                      <a:pt x="11" y="11"/>
                    </a:lnTo>
                    <a:lnTo>
                      <a:pt x="16" y="6"/>
                    </a:lnTo>
                    <a:lnTo>
                      <a:pt x="23" y="3"/>
                    </a:lnTo>
                    <a:lnTo>
                      <a:pt x="30" y="1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4" y="1"/>
                    </a:lnTo>
                    <a:lnTo>
                      <a:pt x="51" y="3"/>
                    </a:lnTo>
                    <a:lnTo>
                      <a:pt x="58" y="6"/>
                    </a:lnTo>
                    <a:lnTo>
                      <a:pt x="63" y="11"/>
                    </a:lnTo>
                    <a:lnTo>
                      <a:pt x="67" y="17"/>
                    </a:lnTo>
                    <a:lnTo>
                      <a:pt x="71" y="22"/>
                    </a:lnTo>
                    <a:lnTo>
                      <a:pt x="73" y="29"/>
                    </a:lnTo>
                    <a:lnTo>
                      <a:pt x="74" y="37"/>
                    </a:lnTo>
                    <a:lnTo>
                      <a:pt x="74" y="550"/>
                    </a:lnTo>
                    <a:lnTo>
                      <a:pt x="73" y="558"/>
                    </a:lnTo>
                    <a:lnTo>
                      <a:pt x="71" y="565"/>
                    </a:lnTo>
                    <a:lnTo>
                      <a:pt x="67" y="571"/>
                    </a:lnTo>
                    <a:lnTo>
                      <a:pt x="63" y="576"/>
                    </a:lnTo>
                    <a:lnTo>
                      <a:pt x="58" y="581"/>
                    </a:lnTo>
                    <a:lnTo>
                      <a:pt x="51" y="584"/>
                    </a:lnTo>
                    <a:lnTo>
                      <a:pt x="44" y="587"/>
                    </a:lnTo>
                    <a:lnTo>
                      <a:pt x="38" y="588"/>
                    </a:lnTo>
                    <a:lnTo>
                      <a:pt x="38" y="588"/>
                    </a:lnTo>
                    <a:lnTo>
                      <a:pt x="30" y="587"/>
                    </a:lnTo>
                    <a:lnTo>
                      <a:pt x="23" y="584"/>
                    </a:lnTo>
                    <a:lnTo>
                      <a:pt x="16" y="581"/>
                    </a:lnTo>
                    <a:lnTo>
                      <a:pt x="11" y="576"/>
                    </a:lnTo>
                    <a:lnTo>
                      <a:pt x="7" y="571"/>
                    </a:lnTo>
                    <a:lnTo>
                      <a:pt x="3" y="565"/>
                    </a:lnTo>
                    <a:lnTo>
                      <a:pt x="1" y="558"/>
                    </a:lnTo>
                    <a:lnTo>
                      <a:pt x="0" y="550"/>
                    </a:lnTo>
                    <a:close/>
                  </a:path>
                </a:pathLst>
              </a:custGeom>
              <a:gradFill flip="none" rotWithShape="1">
                <a:gsLst>
                  <a:gs pos="28744">
                    <a:schemeClr val="bg1">
                      <a:lumMod val="75000"/>
                    </a:schemeClr>
                  </a:gs>
                  <a:gs pos="78000">
                    <a:srgbClr val="060606"/>
                  </a:gs>
                  <a:gs pos="100000">
                    <a:srgbClr val="3C3C3C"/>
                  </a:gs>
                  <a:gs pos="10000">
                    <a:schemeClr val="bg1">
                      <a:lumMod val="50000"/>
                    </a:schemeClr>
                  </a:gs>
                  <a:gs pos="54000">
                    <a:schemeClr val="tx1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7" name="Freeform 8"/>
              <p:cNvSpPr>
                <a:spLocks/>
              </p:cNvSpPr>
              <p:nvPr/>
            </p:nvSpPr>
            <p:spPr bwMode="auto">
              <a:xfrm>
                <a:off x="2057473" y="1676404"/>
                <a:ext cx="19050" cy="155575"/>
              </a:xfrm>
              <a:custGeom>
                <a:avLst/>
                <a:gdLst>
                  <a:gd name="T0" fmla="*/ 0 w 74"/>
                  <a:gd name="T1" fmla="*/ 551 h 587"/>
                  <a:gd name="T2" fmla="*/ 0 w 74"/>
                  <a:gd name="T3" fmla="*/ 38 h 587"/>
                  <a:gd name="T4" fmla="*/ 1 w 74"/>
                  <a:gd name="T5" fmla="*/ 30 h 587"/>
                  <a:gd name="T6" fmla="*/ 3 w 74"/>
                  <a:gd name="T7" fmla="*/ 23 h 587"/>
                  <a:gd name="T8" fmla="*/ 7 w 74"/>
                  <a:gd name="T9" fmla="*/ 16 h 587"/>
                  <a:gd name="T10" fmla="*/ 11 w 74"/>
                  <a:gd name="T11" fmla="*/ 11 h 587"/>
                  <a:gd name="T12" fmla="*/ 16 w 74"/>
                  <a:gd name="T13" fmla="*/ 7 h 587"/>
                  <a:gd name="T14" fmla="*/ 23 w 74"/>
                  <a:gd name="T15" fmla="*/ 3 h 587"/>
                  <a:gd name="T16" fmla="*/ 30 w 74"/>
                  <a:gd name="T17" fmla="*/ 1 h 587"/>
                  <a:gd name="T18" fmla="*/ 38 w 74"/>
                  <a:gd name="T19" fmla="*/ 0 h 587"/>
                  <a:gd name="T20" fmla="*/ 38 w 74"/>
                  <a:gd name="T21" fmla="*/ 0 h 587"/>
                  <a:gd name="T22" fmla="*/ 44 w 74"/>
                  <a:gd name="T23" fmla="*/ 1 h 587"/>
                  <a:gd name="T24" fmla="*/ 51 w 74"/>
                  <a:gd name="T25" fmla="*/ 3 h 587"/>
                  <a:gd name="T26" fmla="*/ 58 w 74"/>
                  <a:gd name="T27" fmla="*/ 7 h 587"/>
                  <a:gd name="T28" fmla="*/ 63 w 74"/>
                  <a:gd name="T29" fmla="*/ 11 h 587"/>
                  <a:gd name="T30" fmla="*/ 67 w 74"/>
                  <a:gd name="T31" fmla="*/ 16 h 587"/>
                  <a:gd name="T32" fmla="*/ 71 w 74"/>
                  <a:gd name="T33" fmla="*/ 23 h 587"/>
                  <a:gd name="T34" fmla="*/ 73 w 74"/>
                  <a:gd name="T35" fmla="*/ 30 h 587"/>
                  <a:gd name="T36" fmla="*/ 74 w 74"/>
                  <a:gd name="T37" fmla="*/ 38 h 587"/>
                  <a:gd name="T38" fmla="*/ 74 w 74"/>
                  <a:gd name="T39" fmla="*/ 551 h 587"/>
                  <a:gd name="T40" fmla="*/ 73 w 74"/>
                  <a:gd name="T41" fmla="*/ 557 h 587"/>
                  <a:gd name="T42" fmla="*/ 71 w 74"/>
                  <a:gd name="T43" fmla="*/ 564 h 587"/>
                  <a:gd name="T44" fmla="*/ 67 w 74"/>
                  <a:gd name="T45" fmla="*/ 571 h 587"/>
                  <a:gd name="T46" fmla="*/ 63 w 74"/>
                  <a:gd name="T47" fmla="*/ 577 h 587"/>
                  <a:gd name="T48" fmla="*/ 58 w 74"/>
                  <a:gd name="T49" fmla="*/ 581 h 587"/>
                  <a:gd name="T50" fmla="*/ 51 w 74"/>
                  <a:gd name="T51" fmla="*/ 585 h 587"/>
                  <a:gd name="T52" fmla="*/ 44 w 74"/>
                  <a:gd name="T53" fmla="*/ 586 h 587"/>
                  <a:gd name="T54" fmla="*/ 38 w 74"/>
                  <a:gd name="T55" fmla="*/ 587 h 587"/>
                  <a:gd name="T56" fmla="*/ 38 w 74"/>
                  <a:gd name="T57" fmla="*/ 587 h 587"/>
                  <a:gd name="T58" fmla="*/ 30 w 74"/>
                  <a:gd name="T59" fmla="*/ 586 h 587"/>
                  <a:gd name="T60" fmla="*/ 23 w 74"/>
                  <a:gd name="T61" fmla="*/ 585 h 587"/>
                  <a:gd name="T62" fmla="*/ 16 w 74"/>
                  <a:gd name="T63" fmla="*/ 581 h 587"/>
                  <a:gd name="T64" fmla="*/ 11 w 74"/>
                  <a:gd name="T65" fmla="*/ 577 h 587"/>
                  <a:gd name="T66" fmla="*/ 7 w 74"/>
                  <a:gd name="T67" fmla="*/ 571 h 587"/>
                  <a:gd name="T68" fmla="*/ 3 w 74"/>
                  <a:gd name="T69" fmla="*/ 564 h 587"/>
                  <a:gd name="T70" fmla="*/ 1 w 74"/>
                  <a:gd name="T71" fmla="*/ 557 h 587"/>
                  <a:gd name="T72" fmla="*/ 0 w 74"/>
                  <a:gd name="T73" fmla="*/ 551 h 5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4" h="587">
                    <a:moveTo>
                      <a:pt x="0" y="551"/>
                    </a:moveTo>
                    <a:lnTo>
                      <a:pt x="0" y="38"/>
                    </a:lnTo>
                    <a:lnTo>
                      <a:pt x="1" y="30"/>
                    </a:lnTo>
                    <a:lnTo>
                      <a:pt x="3" y="23"/>
                    </a:lnTo>
                    <a:lnTo>
                      <a:pt x="7" y="16"/>
                    </a:lnTo>
                    <a:lnTo>
                      <a:pt x="11" y="11"/>
                    </a:lnTo>
                    <a:lnTo>
                      <a:pt x="16" y="7"/>
                    </a:lnTo>
                    <a:lnTo>
                      <a:pt x="23" y="3"/>
                    </a:lnTo>
                    <a:lnTo>
                      <a:pt x="30" y="1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4" y="1"/>
                    </a:lnTo>
                    <a:lnTo>
                      <a:pt x="51" y="3"/>
                    </a:lnTo>
                    <a:lnTo>
                      <a:pt x="58" y="7"/>
                    </a:lnTo>
                    <a:lnTo>
                      <a:pt x="63" y="11"/>
                    </a:lnTo>
                    <a:lnTo>
                      <a:pt x="67" y="16"/>
                    </a:lnTo>
                    <a:lnTo>
                      <a:pt x="71" y="23"/>
                    </a:lnTo>
                    <a:lnTo>
                      <a:pt x="73" y="30"/>
                    </a:lnTo>
                    <a:lnTo>
                      <a:pt x="74" y="38"/>
                    </a:lnTo>
                    <a:lnTo>
                      <a:pt x="74" y="551"/>
                    </a:lnTo>
                    <a:lnTo>
                      <a:pt x="73" y="557"/>
                    </a:lnTo>
                    <a:lnTo>
                      <a:pt x="71" y="564"/>
                    </a:lnTo>
                    <a:lnTo>
                      <a:pt x="67" y="571"/>
                    </a:lnTo>
                    <a:lnTo>
                      <a:pt x="63" y="577"/>
                    </a:lnTo>
                    <a:lnTo>
                      <a:pt x="58" y="581"/>
                    </a:lnTo>
                    <a:lnTo>
                      <a:pt x="51" y="585"/>
                    </a:lnTo>
                    <a:lnTo>
                      <a:pt x="44" y="586"/>
                    </a:lnTo>
                    <a:lnTo>
                      <a:pt x="38" y="587"/>
                    </a:lnTo>
                    <a:lnTo>
                      <a:pt x="38" y="587"/>
                    </a:lnTo>
                    <a:lnTo>
                      <a:pt x="30" y="586"/>
                    </a:lnTo>
                    <a:lnTo>
                      <a:pt x="23" y="585"/>
                    </a:lnTo>
                    <a:lnTo>
                      <a:pt x="16" y="581"/>
                    </a:lnTo>
                    <a:lnTo>
                      <a:pt x="11" y="577"/>
                    </a:lnTo>
                    <a:lnTo>
                      <a:pt x="7" y="571"/>
                    </a:lnTo>
                    <a:lnTo>
                      <a:pt x="3" y="564"/>
                    </a:lnTo>
                    <a:lnTo>
                      <a:pt x="1" y="557"/>
                    </a:lnTo>
                    <a:lnTo>
                      <a:pt x="0" y="551"/>
                    </a:lnTo>
                    <a:close/>
                  </a:path>
                </a:pathLst>
              </a:custGeom>
              <a:gradFill flip="none" rotWithShape="1">
                <a:gsLst>
                  <a:gs pos="28744">
                    <a:schemeClr val="bg1">
                      <a:lumMod val="75000"/>
                    </a:schemeClr>
                  </a:gs>
                  <a:gs pos="78000">
                    <a:srgbClr val="060606"/>
                  </a:gs>
                  <a:gs pos="100000">
                    <a:srgbClr val="3C3C3C"/>
                  </a:gs>
                  <a:gs pos="10000">
                    <a:schemeClr val="bg1">
                      <a:lumMod val="50000"/>
                    </a:schemeClr>
                  </a:gs>
                  <a:gs pos="54000">
                    <a:schemeClr val="tx1"/>
                  </a:gs>
                </a:gsLst>
                <a:lin ang="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8" name="Rectangle 9"/>
              <p:cNvSpPr>
                <a:spLocks noChangeArrowheads="1"/>
              </p:cNvSpPr>
              <p:nvPr/>
            </p:nvSpPr>
            <p:spPr bwMode="auto">
              <a:xfrm>
                <a:off x="2066965" y="822328"/>
                <a:ext cx="20638" cy="214313"/>
              </a:xfrm>
              <a:prstGeom prst="rect">
                <a:avLst/>
              </a:prstGeom>
              <a:gradFill flip="none" rotWithShape="1">
                <a:gsLst>
                  <a:gs pos="6140">
                    <a:schemeClr val="tx1">
                      <a:lumMod val="50000"/>
                      <a:lumOff val="50000"/>
                    </a:schemeClr>
                  </a:gs>
                  <a:gs pos="55000">
                    <a:schemeClr val="bg1">
                      <a:lumMod val="65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9" name="Rectangle 10"/>
              <p:cNvSpPr>
                <a:spLocks noChangeArrowheads="1"/>
              </p:cNvSpPr>
              <p:nvPr/>
            </p:nvSpPr>
            <p:spPr bwMode="auto">
              <a:xfrm>
                <a:off x="2066960" y="1276353"/>
                <a:ext cx="20638" cy="165101"/>
              </a:xfrm>
              <a:prstGeom prst="rect">
                <a:avLst/>
              </a:prstGeom>
              <a:gradFill flip="none" rotWithShape="1">
                <a:gsLst>
                  <a:gs pos="6140">
                    <a:schemeClr val="tx1">
                      <a:lumMod val="50000"/>
                      <a:lumOff val="50000"/>
                    </a:schemeClr>
                  </a:gs>
                  <a:gs pos="55000">
                    <a:schemeClr val="bg1">
                      <a:lumMod val="65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50" name="Rectangle 11"/>
              <p:cNvSpPr>
                <a:spLocks noChangeArrowheads="1"/>
              </p:cNvSpPr>
              <p:nvPr/>
            </p:nvSpPr>
            <p:spPr bwMode="auto">
              <a:xfrm>
                <a:off x="2066925" y="1670049"/>
                <a:ext cx="20638" cy="166689"/>
              </a:xfrm>
              <a:prstGeom prst="rect">
                <a:avLst/>
              </a:prstGeom>
              <a:gradFill flip="none" rotWithShape="1">
                <a:gsLst>
                  <a:gs pos="6140">
                    <a:schemeClr val="tx1">
                      <a:lumMod val="50000"/>
                      <a:lumOff val="50000"/>
                    </a:schemeClr>
                  </a:gs>
                  <a:gs pos="55000">
                    <a:schemeClr val="bg1">
                      <a:lumMod val="65000"/>
                    </a:schemeClr>
                  </a:gs>
                  <a:gs pos="100000">
                    <a:schemeClr val="tx1">
                      <a:lumMod val="65000"/>
                      <a:lumOff val="35000"/>
                    </a:schemeClr>
                  </a:gs>
                </a:gsLst>
                <a:lin ang="162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" name="Freeform 12"/>
            <p:cNvSpPr>
              <a:spLocks/>
            </p:cNvSpPr>
            <p:nvPr/>
          </p:nvSpPr>
          <p:spPr bwMode="auto">
            <a:xfrm>
              <a:off x="4429886" y="1805805"/>
              <a:ext cx="2150100" cy="4569150"/>
            </a:xfrm>
            <a:custGeom>
              <a:avLst/>
              <a:gdLst>
                <a:gd name="T0" fmla="*/ 7316 w 8536"/>
                <a:gd name="T1" fmla="*/ 1 h 18144"/>
                <a:gd name="T2" fmla="*/ 7508 w 8536"/>
                <a:gd name="T3" fmla="*/ 26 h 18144"/>
                <a:gd name="T4" fmla="*/ 7691 w 8536"/>
                <a:gd name="T5" fmla="*/ 77 h 18144"/>
                <a:gd name="T6" fmla="*/ 7862 w 8536"/>
                <a:gd name="T7" fmla="*/ 155 h 18144"/>
                <a:gd name="T8" fmla="*/ 8018 w 8536"/>
                <a:gd name="T9" fmla="*/ 255 h 18144"/>
                <a:gd name="T10" fmla="*/ 8158 w 8536"/>
                <a:gd name="T11" fmla="*/ 377 h 18144"/>
                <a:gd name="T12" fmla="*/ 8279 w 8536"/>
                <a:gd name="T13" fmla="*/ 517 h 18144"/>
                <a:gd name="T14" fmla="*/ 8380 w 8536"/>
                <a:gd name="T15" fmla="*/ 674 h 18144"/>
                <a:gd name="T16" fmla="*/ 8457 w 8536"/>
                <a:gd name="T17" fmla="*/ 845 h 18144"/>
                <a:gd name="T18" fmla="*/ 8510 w 8536"/>
                <a:gd name="T19" fmla="*/ 1027 h 18144"/>
                <a:gd name="T20" fmla="*/ 8535 w 8536"/>
                <a:gd name="T21" fmla="*/ 1218 h 18144"/>
                <a:gd name="T22" fmla="*/ 8535 w 8536"/>
                <a:gd name="T23" fmla="*/ 16924 h 18144"/>
                <a:gd name="T24" fmla="*/ 8510 w 8536"/>
                <a:gd name="T25" fmla="*/ 17117 h 18144"/>
                <a:gd name="T26" fmla="*/ 8457 w 8536"/>
                <a:gd name="T27" fmla="*/ 17299 h 18144"/>
                <a:gd name="T28" fmla="*/ 8380 w 8536"/>
                <a:gd name="T29" fmla="*/ 17470 h 18144"/>
                <a:gd name="T30" fmla="*/ 8279 w 8536"/>
                <a:gd name="T31" fmla="*/ 17626 h 18144"/>
                <a:gd name="T32" fmla="*/ 8158 w 8536"/>
                <a:gd name="T33" fmla="*/ 17767 h 18144"/>
                <a:gd name="T34" fmla="*/ 8018 w 8536"/>
                <a:gd name="T35" fmla="*/ 17888 h 18144"/>
                <a:gd name="T36" fmla="*/ 7862 w 8536"/>
                <a:gd name="T37" fmla="*/ 17988 h 18144"/>
                <a:gd name="T38" fmla="*/ 7691 w 8536"/>
                <a:gd name="T39" fmla="*/ 18065 h 18144"/>
                <a:gd name="T40" fmla="*/ 7508 w 8536"/>
                <a:gd name="T41" fmla="*/ 18118 h 18144"/>
                <a:gd name="T42" fmla="*/ 7316 w 8536"/>
                <a:gd name="T43" fmla="*/ 18143 h 18144"/>
                <a:gd name="T44" fmla="*/ 1220 w 8536"/>
                <a:gd name="T45" fmla="*/ 18143 h 18144"/>
                <a:gd name="T46" fmla="*/ 1027 w 8536"/>
                <a:gd name="T47" fmla="*/ 18118 h 18144"/>
                <a:gd name="T48" fmla="*/ 845 w 8536"/>
                <a:gd name="T49" fmla="*/ 18065 h 18144"/>
                <a:gd name="T50" fmla="*/ 674 w 8536"/>
                <a:gd name="T51" fmla="*/ 17988 h 18144"/>
                <a:gd name="T52" fmla="*/ 518 w 8536"/>
                <a:gd name="T53" fmla="*/ 17888 h 18144"/>
                <a:gd name="T54" fmla="*/ 377 w 8536"/>
                <a:gd name="T55" fmla="*/ 17767 h 18144"/>
                <a:gd name="T56" fmla="*/ 256 w 8536"/>
                <a:gd name="T57" fmla="*/ 17626 h 18144"/>
                <a:gd name="T58" fmla="*/ 156 w 8536"/>
                <a:gd name="T59" fmla="*/ 17470 h 18144"/>
                <a:gd name="T60" fmla="*/ 78 w 8536"/>
                <a:gd name="T61" fmla="*/ 17299 h 18144"/>
                <a:gd name="T62" fmla="*/ 26 w 8536"/>
                <a:gd name="T63" fmla="*/ 17117 h 18144"/>
                <a:gd name="T64" fmla="*/ 2 w 8536"/>
                <a:gd name="T65" fmla="*/ 16924 h 18144"/>
                <a:gd name="T66" fmla="*/ 2 w 8536"/>
                <a:gd name="T67" fmla="*/ 1218 h 18144"/>
                <a:gd name="T68" fmla="*/ 26 w 8536"/>
                <a:gd name="T69" fmla="*/ 1027 h 18144"/>
                <a:gd name="T70" fmla="*/ 78 w 8536"/>
                <a:gd name="T71" fmla="*/ 845 h 18144"/>
                <a:gd name="T72" fmla="*/ 156 w 8536"/>
                <a:gd name="T73" fmla="*/ 674 h 18144"/>
                <a:gd name="T74" fmla="*/ 256 w 8536"/>
                <a:gd name="T75" fmla="*/ 517 h 18144"/>
                <a:gd name="T76" fmla="*/ 377 w 8536"/>
                <a:gd name="T77" fmla="*/ 377 h 18144"/>
                <a:gd name="T78" fmla="*/ 518 w 8536"/>
                <a:gd name="T79" fmla="*/ 255 h 18144"/>
                <a:gd name="T80" fmla="*/ 674 w 8536"/>
                <a:gd name="T81" fmla="*/ 155 h 18144"/>
                <a:gd name="T82" fmla="*/ 845 w 8536"/>
                <a:gd name="T83" fmla="*/ 77 h 18144"/>
                <a:gd name="T84" fmla="*/ 1027 w 8536"/>
                <a:gd name="T85" fmla="*/ 26 h 18144"/>
                <a:gd name="T86" fmla="*/ 1220 w 8536"/>
                <a:gd name="T87" fmla="*/ 1 h 18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536" h="18144">
                  <a:moveTo>
                    <a:pt x="1286" y="0"/>
                  </a:moveTo>
                  <a:lnTo>
                    <a:pt x="7249" y="0"/>
                  </a:lnTo>
                  <a:lnTo>
                    <a:pt x="7316" y="1"/>
                  </a:lnTo>
                  <a:lnTo>
                    <a:pt x="7381" y="5"/>
                  </a:lnTo>
                  <a:lnTo>
                    <a:pt x="7446" y="15"/>
                  </a:lnTo>
                  <a:lnTo>
                    <a:pt x="7508" y="26"/>
                  </a:lnTo>
                  <a:lnTo>
                    <a:pt x="7570" y="40"/>
                  </a:lnTo>
                  <a:lnTo>
                    <a:pt x="7632" y="58"/>
                  </a:lnTo>
                  <a:lnTo>
                    <a:pt x="7691" y="77"/>
                  </a:lnTo>
                  <a:lnTo>
                    <a:pt x="7749" y="101"/>
                  </a:lnTo>
                  <a:lnTo>
                    <a:pt x="7806" y="126"/>
                  </a:lnTo>
                  <a:lnTo>
                    <a:pt x="7862" y="155"/>
                  </a:lnTo>
                  <a:lnTo>
                    <a:pt x="7916" y="186"/>
                  </a:lnTo>
                  <a:lnTo>
                    <a:pt x="7968" y="220"/>
                  </a:lnTo>
                  <a:lnTo>
                    <a:pt x="8018" y="255"/>
                  </a:lnTo>
                  <a:lnTo>
                    <a:pt x="8067" y="294"/>
                  </a:lnTo>
                  <a:lnTo>
                    <a:pt x="8114" y="334"/>
                  </a:lnTo>
                  <a:lnTo>
                    <a:pt x="8158" y="377"/>
                  </a:lnTo>
                  <a:lnTo>
                    <a:pt x="8201" y="422"/>
                  </a:lnTo>
                  <a:lnTo>
                    <a:pt x="8242" y="468"/>
                  </a:lnTo>
                  <a:lnTo>
                    <a:pt x="8279" y="517"/>
                  </a:lnTo>
                  <a:lnTo>
                    <a:pt x="8316" y="567"/>
                  </a:lnTo>
                  <a:lnTo>
                    <a:pt x="8349" y="620"/>
                  </a:lnTo>
                  <a:lnTo>
                    <a:pt x="8380" y="674"/>
                  </a:lnTo>
                  <a:lnTo>
                    <a:pt x="8408" y="728"/>
                  </a:lnTo>
                  <a:lnTo>
                    <a:pt x="8434" y="785"/>
                  </a:lnTo>
                  <a:lnTo>
                    <a:pt x="8457" y="845"/>
                  </a:lnTo>
                  <a:lnTo>
                    <a:pt x="8478" y="904"/>
                  </a:lnTo>
                  <a:lnTo>
                    <a:pt x="8495" y="964"/>
                  </a:lnTo>
                  <a:lnTo>
                    <a:pt x="8510" y="1027"/>
                  </a:lnTo>
                  <a:lnTo>
                    <a:pt x="8521" y="1090"/>
                  </a:lnTo>
                  <a:lnTo>
                    <a:pt x="8529" y="1153"/>
                  </a:lnTo>
                  <a:lnTo>
                    <a:pt x="8535" y="1218"/>
                  </a:lnTo>
                  <a:lnTo>
                    <a:pt x="8536" y="1285"/>
                  </a:lnTo>
                  <a:lnTo>
                    <a:pt x="8536" y="16858"/>
                  </a:lnTo>
                  <a:lnTo>
                    <a:pt x="8535" y="16924"/>
                  </a:lnTo>
                  <a:lnTo>
                    <a:pt x="8529" y="16989"/>
                  </a:lnTo>
                  <a:lnTo>
                    <a:pt x="8521" y="17054"/>
                  </a:lnTo>
                  <a:lnTo>
                    <a:pt x="8510" y="17117"/>
                  </a:lnTo>
                  <a:lnTo>
                    <a:pt x="8495" y="17178"/>
                  </a:lnTo>
                  <a:lnTo>
                    <a:pt x="8478" y="17240"/>
                  </a:lnTo>
                  <a:lnTo>
                    <a:pt x="8457" y="17299"/>
                  </a:lnTo>
                  <a:lnTo>
                    <a:pt x="8434" y="17357"/>
                  </a:lnTo>
                  <a:lnTo>
                    <a:pt x="8408" y="17414"/>
                  </a:lnTo>
                  <a:lnTo>
                    <a:pt x="8380" y="17470"/>
                  </a:lnTo>
                  <a:lnTo>
                    <a:pt x="8349" y="17524"/>
                  </a:lnTo>
                  <a:lnTo>
                    <a:pt x="8316" y="17576"/>
                  </a:lnTo>
                  <a:lnTo>
                    <a:pt x="8279" y="17626"/>
                  </a:lnTo>
                  <a:lnTo>
                    <a:pt x="8242" y="17675"/>
                  </a:lnTo>
                  <a:lnTo>
                    <a:pt x="8201" y="17722"/>
                  </a:lnTo>
                  <a:lnTo>
                    <a:pt x="8158" y="17767"/>
                  </a:lnTo>
                  <a:lnTo>
                    <a:pt x="8114" y="17809"/>
                  </a:lnTo>
                  <a:lnTo>
                    <a:pt x="8067" y="17850"/>
                  </a:lnTo>
                  <a:lnTo>
                    <a:pt x="8018" y="17888"/>
                  </a:lnTo>
                  <a:lnTo>
                    <a:pt x="7968" y="17924"/>
                  </a:lnTo>
                  <a:lnTo>
                    <a:pt x="7916" y="17957"/>
                  </a:lnTo>
                  <a:lnTo>
                    <a:pt x="7862" y="17988"/>
                  </a:lnTo>
                  <a:lnTo>
                    <a:pt x="7806" y="18016"/>
                  </a:lnTo>
                  <a:lnTo>
                    <a:pt x="7749" y="18043"/>
                  </a:lnTo>
                  <a:lnTo>
                    <a:pt x="7691" y="18065"/>
                  </a:lnTo>
                  <a:lnTo>
                    <a:pt x="7632" y="18086"/>
                  </a:lnTo>
                  <a:lnTo>
                    <a:pt x="7570" y="18103"/>
                  </a:lnTo>
                  <a:lnTo>
                    <a:pt x="7508" y="18118"/>
                  </a:lnTo>
                  <a:lnTo>
                    <a:pt x="7446" y="18129"/>
                  </a:lnTo>
                  <a:lnTo>
                    <a:pt x="7381" y="18137"/>
                  </a:lnTo>
                  <a:lnTo>
                    <a:pt x="7316" y="18143"/>
                  </a:lnTo>
                  <a:lnTo>
                    <a:pt x="7249" y="18144"/>
                  </a:lnTo>
                  <a:lnTo>
                    <a:pt x="1286" y="18144"/>
                  </a:lnTo>
                  <a:lnTo>
                    <a:pt x="1220" y="18143"/>
                  </a:lnTo>
                  <a:lnTo>
                    <a:pt x="1155" y="18137"/>
                  </a:lnTo>
                  <a:lnTo>
                    <a:pt x="1091" y="18129"/>
                  </a:lnTo>
                  <a:lnTo>
                    <a:pt x="1027" y="18118"/>
                  </a:lnTo>
                  <a:lnTo>
                    <a:pt x="966" y="18103"/>
                  </a:lnTo>
                  <a:lnTo>
                    <a:pt x="904" y="18086"/>
                  </a:lnTo>
                  <a:lnTo>
                    <a:pt x="845" y="18065"/>
                  </a:lnTo>
                  <a:lnTo>
                    <a:pt x="787" y="18043"/>
                  </a:lnTo>
                  <a:lnTo>
                    <a:pt x="730" y="18016"/>
                  </a:lnTo>
                  <a:lnTo>
                    <a:pt x="674" y="17988"/>
                  </a:lnTo>
                  <a:lnTo>
                    <a:pt x="620" y="17957"/>
                  </a:lnTo>
                  <a:lnTo>
                    <a:pt x="569" y="17924"/>
                  </a:lnTo>
                  <a:lnTo>
                    <a:pt x="518" y="17888"/>
                  </a:lnTo>
                  <a:lnTo>
                    <a:pt x="470" y="17850"/>
                  </a:lnTo>
                  <a:lnTo>
                    <a:pt x="423" y="17809"/>
                  </a:lnTo>
                  <a:lnTo>
                    <a:pt x="377" y="17767"/>
                  </a:lnTo>
                  <a:lnTo>
                    <a:pt x="335" y="17722"/>
                  </a:lnTo>
                  <a:lnTo>
                    <a:pt x="295" y="17675"/>
                  </a:lnTo>
                  <a:lnTo>
                    <a:pt x="256" y="17626"/>
                  </a:lnTo>
                  <a:lnTo>
                    <a:pt x="221" y="17576"/>
                  </a:lnTo>
                  <a:lnTo>
                    <a:pt x="187" y="17524"/>
                  </a:lnTo>
                  <a:lnTo>
                    <a:pt x="156" y="17470"/>
                  </a:lnTo>
                  <a:lnTo>
                    <a:pt x="128" y="17414"/>
                  </a:lnTo>
                  <a:lnTo>
                    <a:pt x="101" y="17357"/>
                  </a:lnTo>
                  <a:lnTo>
                    <a:pt x="78" y="17299"/>
                  </a:lnTo>
                  <a:lnTo>
                    <a:pt x="58" y="17240"/>
                  </a:lnTo>
                  <a:lnTo>
                    <a:pt x="41" y="17178"/>
                  </a:lnTo>
                  <a:lnTo>
                    <a:pt x="26" y="17117"/>
                  </a:lnTo>
                  <a:lnTo>
                    <a:pt x="15" y="17054"/>
                  </a:lnTo>
                  <a:lnTo>
                    <a:pt x="7" y="16989"/>
                  </a:lnTo>
                  <a:lnTo>
                    <a:pt x="2" y="16924"/>
                  </a:lnTo>
                  <a:lnTo>
                    <a:pt x="0" y="16858"/>
                  </a:lnTo>
                  <a:lnTo>
                    <a:pt x="0" y="1285"/>
                  </a:lnTo>
                  <a:lnTo>
                    <a:pt x="2" y="1218"/>
                  </a:lnTo>
                  <a:lnTo>
                    <a:pt x="7" y="1153"/>
                  </a:lnTo>
                  <a:lnTo>
                    <a:pt x="15" y="1090"/>
                  </a:lnTo>
                  <a:lnTo>
                    <a:pt x="26" y="1027"/>
                  </a:lnTo>
                  <a:lnTo>
                    <a:pt x="41" y="964"/>
                  </a:lnTo>
                  <a:lnTo>
                    <a:pt x="58" y="904"/>
                  </a:lnTo>
                  <a:lnTo>
                    <a:pt x="78" y="845"/>
                  </a:lnTo>
                  <a:lnTo>
                    <a:pt x="101" y="785"/>
                  </a:lnTo>
                  <a:lnTo>
                    <a:pt x="128" y="728"/>
                  </a:lnTo>
                  <a:lnTo>
                    <a:pt x="156" y="674"/>
                  </a:lnTo>
                  <a:lnTo>
                    <a:pt x="187" y="620"/>
                  </a:lnTo>
                  <a:lnTo>
                    <a:pt x="221" y="567"/>
                  </a:lnTo>
                  <a:lnTo>
                    <a:pt x="256" y="517"/>
                  </a:lnTo>
                  <a:lnTo>
                    <a:pt x="295" y="468"/>
                  </a:lnTo>
                  <a:lnTo>
                    <a:pt x="335" y="422"/>
                  </a:lnTo>
                  <a:lnTo>
                    <a:pt x="377" y="377"/>
                  </a:lnTo>
                  <a:lnTo>
                    <a:pt x="423" y="334"/>
                  </a:lnTo>
                  <a:lnTo>
                    <a:pt x="470" y="294"/>
                  </a:lnTo>
                  <a:lnTo>
                    <a:pt x="518" y="255"/>
                  </a:lnTo>
                  <a:lnTo>
                    <a:pt x="569" y="220"/>
                  </a:lnTo>
                  <a:lnTo>
                    <a:pt x="620" y="186"/>
                  </a:lnTo>
                  <a:lnTo>
                    <a:pt x="674" y="155"/>
                  </a:lnTo>
                  <a:lnTo>
                    <a:pt x="730" y="126"/>
                  </a:lnTo>
                  <a:lnTo>
                    <a:pt x="787" y="101"/>
                  </a:lnTo>
                  <a:lnTo>
                    <a:pt x="845" y="77"/>
                  </a:lnTo>
                  <a:lnTo>
                    <a:pt x="904" y="58"/>
                  </a:lnTo>
                  <a:lnTo>
                    <a:pt x="966" y="40"/>
                  </a:lnTo>
                  <a:lnTo>
                    <a:pt x="1027" y="26"/>
                  </a:lnTo>
                  <a:lnTo>
                    <a:pt x="1091" y="15"/>
                  </a:lnTo>
                  <a:lnTo>
                    <a:pt x="1155" y="5"/>
                  </a:lnTo>
                  <a:lnTo>
                    <a:pt x="1220" y="1"/>
                  </a:lnTo>
                  <a:lnTo>
                    <a:pt x="1286" y="0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13"/>
            <p:cNvSpPr>
              <a:spLocks/>
            </p:cNvSpPr>
            <p:nvPr/>
          </p:nvSpPr>
          <p:spPr bwMode="auto">
            <a:xfrm>
              <a:off x="4451040" y="1826959"/>
              <a:ext cx="2107793" cy="4526843"/>
            </a:xfrm>
            <a:custGeom>
              <a:avLst/>
              <a:gdLst>
                <a:gd name="T0" fmla="*/ 7245 w 8370"/>
                <a:gd name="T1" fmla="*/ 2 h 17971"/>
                <a:gd name="T2" fmla="*/ 7422 w 8370"/>
                <a:gd name="T3" fmla="*/ 24 h 17971"/>
                <a:gd name="T4" fmla="*/ 7591 w 8370"/>
                <a:gd name="T5" fmla="*/ 72 h 17971"/>
                <a:gd name="T6" fmla="*/ 7748 w 8370"/>
                <a:gd name="T7" fmla="*/ 143 h 17971"/>
                <a:gd name="T8" fmla="*/ 7892 w 8370"/>
                <a:gd name="T9" fmla="*/ 236 h 17971"/>
                <a:gd name="T10" fmla="*/ 8022 w 8370"/>
                <a:gd name="T11" fmla="*/ 348 h 17971"/>
                <a:gd name="T12" fmla="*/ 8134 w 8370"/>
                <a:gd name="T13" fmla="*/ 477 h 17971"/>
                <a:gd name="T14" fmla="*/ 8226 w 8370"/>
                <a:gd name="T15" fmla="*/ 622 h 17971"/>
                <a:gd name="T16" fmla="*/ 8298 w 8370"/>
                <a:gd name="T17" fmla="*/ 779 h 17971"/>
                <a:gd name="T18" fmla="*/ 8346 w 8370"/>
                <a:gd name="T19" fmla="*/ 947 h 17971"/>
                <a:gd name="T20" fmla="*/ 8369 w 8370"/>
                <a:gd name="T21" fmla="*/ 1124 h 17971"/>
                <a:gd name="T22" fmla="*/ 8369 w 8370"/>
                <a:gd name="T23" fmla="*/ 16847 h 17971"/>
                <a:gd name="T24" fmla="*/ 8346 w 8370"/>
                <a:gd name="T25" fmla="*/ 17024 h 17971"/>
                <a:gd name="T26" fmla="*/ 8298 w 8370"/>
                <a:gd name="T27" fmla="*/ 17193 h 17971"/>
                <a:gd name="T28" fmla="*/ 8226 w 8370"/>
                <a:gd name="T29" fmla="*/ 17350 h 17971"/>
                <a:gd name="T30" fmla="*/ 8134 w 8370"/>
                <a:gd name="T31" fmla="*/ 17494 h 17971"/>
                <a:gd name="T32" fmla="*/ 8022 w 8370"/>
                <a:gd name="T33" fmla="*/ 17624 h 17971"/>
                <a:gd name="T34" fmla="*/ 7892 w 8370"/>
                <a:gd name="T35" fmla="*/ 17735 h 17971"/>
                <a:gd name="T36" fmla="*/ 7748 w 8370"/>
                <a:gd name="T37" fmla="*/ 17828 h 17971"/>
                <a:gd name="T38" fmla="*/ 7591 w 8370"/>
                <a:gd name="T39" fmla="*/ 17900 h 17971"/>
                <a:gd name="T40" fmla="*/ 7422 w 8370"/>
                <a:gd name="T41" fmla="*/ 17947 h 17971"/>
                <a:gd name="T42" fmla="*/ 7245 w 8370"/>
                <a:gd name="T43" fmla="*/ 17970 h 17971"/>
                <a:gd name="T44" fmla="*/ 1125 w 8370"/>
                <a:gd name="T45" fmla="*/ 17970 h 17971"/>
                <a:gd name="T46" fmla="*/ 948 w 8370"/>
                <a:gd name="T47" fmla="*/ 17947 h 17971"/>
                <a:gd name="T48" fmla="*/ 779 w 8370"/>
                <a:gd name="T49" fmla="*/ 17900 h 17971"/>
                <a:gd name="T50" fmla="*/ 622 w 8370"/>
                <a:gd name="T51" fmla="*/ 17828 h 17971"/>
                <a:gd name="T52" fmla="*/ 478 w 8370"/>
                <a:gd name="T53" fmla="*/ 17735 h 17971"/>
                <a:gd name="T54" fmla="*/ 349 w 8370"/>
                <a:gd name="T55" fmla="*/ 17624 h 17971"/>
                <a:gd name="T56" fmla="*/ 236 w 8370"/>
                <a:gd name="T57" fmla="*/ 17494 h 17971"/>
                <a:gd name="T58" fmla="*/ 144 w 8370"/>
                <a:gd name="T59" fmla="*/ 17350 h 17971"/>
                <a:gd name="T60" fmla="*/ 73 w 8370"/>
                <a:gd name="T61" fmla="*/ 17193 h 17971"/>
                <a:gd name="T62" fmla="*/ 24 w 8370"/>
                <a:gd name="T63" fmla="*/ 17024 h 17971"/>
                <a:gd name="T64" fmla="*/ 2 w 8370"/>
                <a:gd name="T65" fmla="*/ 16847 h 17971"/>
                <a:gd name="T66" fmla="*/ 2 w 8370"/>
                <a:gd name="T67" fmla="*/ 1124 h 17971"/>
                <a:gd name="T68" fmla="*/ 24 w 8370"/>
                <a:gd name="T69" fmla="*/ 947 h 17971"/>
                <a:gd name="T70" fmla="*/ 73 w 8370"/>
                <a:gd name="T71" fmla="*/ 779 h 17971"/>
                <a:gd name="T72" fmla="*/ 144 w 8370"/>
                <a:gd name="T73" fmla="*/ 622 h 17971"/>
                <a:gd name="T74" fmla="*/ 236 w 8370"/>
                <a:gd name="T75" fmla="*/ 477 h 17971"/>
                <a:gd name="T76" fmla="*/ 349 w 8370"/>
                <a:gd name="T77" fmla="*/ 348 h 17971"/>
                <a:gd name="T78" fmla="*/ 478 w 8370"/>
                <a:gd name="T79" fmla="*/ 236 h 17971"/>
                <a:gd name="T80" fmla="*/ 622 w 8370"/>
                <a:gd name="T81" fmla="*/ 143 h 17971"/>
                <a:gd name="T82" fmla="*/ 779 w 8370"/>
                <a:gd name="T83" fmla="*/ 72 h 17971"/>
                <a:gd name="T84" fmla="*/ 948 w 8370"/>
                <a:gd name="T85" fmla="*/ 24 h 17971"/>
                <a:gd name="T86" fmla="*/ 1125 w 8370"/>
                <a:gd name="T87" fmla="*/ 2 h 17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370" h="17971">
                  <a:moveTo>
                    <a:pt x="1186" y="0"/>
                  </a:moveTo>
                  <a:lnTo>
                    <a:pt x="7184" y="0"/>
                  </a:lnTo>
                  <a:lnTo>
                    <a:pt x="7245" y="2"/>
                  </a:lnTo>
                  <a:lnTo>
                    <a:pt x="7304" y="6"/>
                  </a:lnTo>
                  <a:lnTo>
                    <a:pt x="7364" y="14"/>
                  </a:lnTo>
                  <a:lnTo>
                    <a:pt x="7422" y="24"/>
                  </a:lnTo>
                  <a:lnTo>
                    <a:pt x="7480" y="37"/>
                  </a:lnTo>
                  <a:lnTo>
                    <a:pt x="7536" y="53"/>
                  </a:lnTo>
                  <a:lnTo>
                    <a:pt x="7591" y="72"/>
                  </a:lnTo>
                  <a:lnTo>
                    <a:pt x="7644" y="94"/>
                  </a:lnTo>
                  <a:lnTo>
                    <a:pt x="7697" y="117"/>
                  </a:lnTo>
                  <a:lnTo>
                    <a:pt x="7748" y="143"/>
                  </a:lnTo>
                  <a:lnTo>
                    <a:pt x="7798" y="173"/>
                  </a:lnTo>
                  <a:lnTo>
                    <a:pt x="7846" y="203"/>
                  </a:lnTo>
                  <a:lnTo>
                    <a:pt x="7892" y="236"/>
                  </a:lnTo>
                  <a:lnTo>
                    <a:pt x="7937" y="272"/>
                  </a:lnTo>
                  <a:lnTo>
                    <a:pt x="7981" y="308"/>
                  </a:lnTo>
                  <a:lnTo>
                    <a:pt x="8022" y="348"/>
                  </a:lnTo>
                  <a:lnTo>
                    <a:pt x="8061" y="389"/>
                  </a:lnTo>
                  <a:lnTo>
                    <a:pt x="8098" y="432"/>
                  </a:lnTo>
                  <a:lnTo>
                    <a:pt x="8134" y="477"/>
                  </a:lnTo>
                  <a:lnTo>
                    <a:pt x="8167" y="524"/>
                  </a:lnTo>
                  <a:lnTo>
                    <a:pt x="8198" y="572"/>
                  </a:lnTo>
                  <a:lnTo>
                    <a:pt x="8226" y="622"/>
                  </a:lnTo>
                  <a:lnTo>
                    <a:pt x="8252" y="673"/>
                  </a:lnTo>
                  <a:lnTo>
                    <a:pt x="8276" y="725"/>
                  </a:lnTo>
                  <a:lnTo>
                    <a:pt x="8298" y="779"/>
                  </a:lnTo>
                  <a:lnTo>
                    <a:pt x="8316" y="834"/>
                  </a:lnTo>
                  <a:lnTo>
                    <a:pt x="8332" y="890"/>
                  </a:lnTo>
                  <a:lnTo>
                    <a:pt x="8346" y="947"/>
                  </a:lnTo>
                  <a:lnTo>
                    <a:pt x="8356" y="1005"/>
                  </a:lnTo>
                  <a:lnTo>
                    <a:pt x="8364" y="1064"/>
                  </a:lnTo>
                  <a:lnTo>
                    <a:pt x="8369" y="1124"/>
                  </a:lnTo>
                  <a:lnTo>
                    <a:pt x="8370" y="1185"/>
                  </a:lnTo>
                  <a:lnTo>
                    <a:pt x="8370" y="16786"/>
                  </a:lnTo>
                  <a:lnTo>
                    <a:pt x="8369" y="16847"/>
                  </a:lnTo>
                  <a:lnTo>
                    <a:pt x="8364" y="16907"/>
                  </a:lnTo>
                  <a:lnTo>
                    <a:pt x="8356" y="16966"/>
                  </a:lnTo>
                  <a:lnTo>
                    <a:pt x="8346" y="17024"/>
                  </a:lnTo>
                  <a:lnTo>
                    <a:pt x="8332" y="17081"/>
                  </a:lnTo>
                  <a:lnTo>
                    <a:pt x="8316" y="17138"/>
                  </a:lnTo>
                  <a:lnTo>
                    <a:pt x="8298" y="17193"/>
                  </a:lnTo>
                  <a:lnTo>
                    <a:pt x="8276" y="17246"/>
                  </a:lnTo>
                  <a:lnTo>
                    <a:pt x="8252" y="17299"/>
                  </a:lnTo>
                  <a:lnTo>
                    <a:pt x="8226" y="17350"/>
                  </a:lnTo>
                  <a:lnTo>
                    <a:pt x="8198" y="17399"/>
                  </a:lnTo>
                  <a:lnTo>
                    <a:pt x="8167" y="17448"/>
                  </a:lnTo>
                  <a:lnTo>
                    <a:pt x="8134" y="17494"/>
                  </a:lnTo>
                  <a:lnTo>
                    <a:pt x="8098" y="17539"/>
                  </a:lnTo>
                  <a:lnTo>
                    <a:pt x="8061" y="17583"/>
                  </a:lnTo>
                  <a:lnTo>
                    <a:pt x="8022" y="17624"/>
                  </a:lnTo>
                  <a:lnTo>
                    <a:pt x="7981" y="17662"/>
                  </a:lnTo>
                  <a:lnTo>
                    <a:pt x="7937" y="17700"/>
                  </a:lnTo>
                  <a:lnTo>
                    <a:pt x="7892" y="17735"/>
                  </a:lnTo>
                  <a:lnTo>
                    <a:pt x="7846" y="17768"/>
                  </a:lnTo>
                  <a:lnTo>
                    <a:pt x="7798" y="17799"/>
                  </a:lnTo>
                  <a:lnTo>
                    <a:pt x="7748" y="17828"/>
                  </a:lnTo>
                  <a:lnTo>
                    <a:pt x="7697" y="17854"/>
                  </a:lnTo>
                  <a:lnTo>
                    <a:pt x="7644" y="17878"/>
                  </a:lnTo>
                  <a:lnTo>
                    <a:pt x="7591" y="17900"/>
                  </a:lnTo>
                  <a:lnTo>
                    <a:pt x="7536" y="17918"/>
                  </a:lnTo>
                  <a:lnTo>
                    <a:pt x="7480" y="17934"/>
                  </a:lnTo>
                  <a:lnTo>
                    <a:pt x="7422" y="17947"/>
                  </a:lnTo>
                  <a:lnTo>
                    <a:pt x="7364" y="17958"/>
                  </a:lnTo>
                  <a:lnTo>
                    <a:pt x="7304" y="17966"/>
                  </a:lnTo>
                  <a:lnTo>
                    <a:pt x="7245" y="17970"/>
                  </a:lnTo>
                  <a:lnTo>
                    <a:pt x="7184" y="17971"/>
                  </a:lnTo>
                  <a:lnTo>
                    <a:pt x="1186" y="17971"/>
                  </a:lnTo>
                  <a:lnTo>
                    <a:pt x="1125" y="17970"/>
                  </a:lnTo>
                  <a:lnTo>
                    <a:pt x="1065" y="17966"/>
                  </a:lnTo>
                  <a:lnTo>
                    <a:pt x="1006" y="17958"/>
                  </a:lnTo>
                  <a:lnTo>
                    <a:pt x="948" y="17947"/>
                  </a:lnTo>
                  <a:lnTo>
                    <a:pt x="891" y="17934"/>
                  </a:lnTo>
                  <a:lnTo>
                    <a:pt x="835" y="17918"/>
                  </a:lnTo>
                  <a:lnTo>
                    <a:pt x="779" y="17900"/>
                  </a:lnTo>
                  <a:lnTo>
                    <a:pt x="725" y="17878"/>
                  </a:lnTo>
                  <a:lnTo>
                    <a:pt x="673" y="17854"/>
                  </a:lnTo>
                  <a:lnTo>
                    <a:pt x="622" y="17828"/>
                  </a:lnTo>
                  <a:lnTo>
                    <a:pt x="573" y="17799"/>
                  </a:lnTo>
                  <a:lnTo>
                    <a:pt x="525" y="17768"/>
                  </a:lnTo>
                  <a:lnTo>
                    <a:pt x="478" y="17735"/>
                  </a:lnTo>
                  <a:lnTo>
                    <a:pt x="432" y="17700"/>
                  </a:lnTo>
                  <a:lnTo>
                    <a:pt x="390" y="17662"/>
                  </a:lnTo>
                  <a:lnTo>
                    <a:pt x="349" y="17624"/>
                  </a:lnTo>
                  <a:lnTo>
                    <a:pt x="309" y="17583"/>
                  </a:lnTo>
                  <a:lnTo>
                    <a:pt x="272" y="17539"/>
                  </a:lnTo>
                  <a:lnTo>
                    <a:pt x="236" y="17494"/>
                  </a:lnTo>
                  <a:lnTo>
                    <a:pt x="203" y="17448"/>
                  </a:lnTo>
                  <a:lnTo>
                    <a:pt x="172" y="17399"/>
                  </a:lnTo>
                  <a:lnTo>
                    <a:pt x="144" y="17350"/>
                  </a:lnTo>
                  <a:lnTo>
                    <a:pt x="118" y="17299"/>
                  </a:lnTo>
                  <a:lnTo>
                    <a:pt x="94" y="17246"/>
                  </a:lnTo>
                  <a:lnTo>
                    <a:pt x="73" y="17193"/>
                  </a:lnTo>
                  <a:lnTo>
                    <a:pt x="54" y="17138"/>
                  </a:lnTo>
                  <a:lnTo>
                    <a:pt x="38" y="17081"/>
                  </a:lnTo>
                  <a:lnTo>
                    <a:pt x="24" y="17024"/>
                  </a:lnTo>
                  <a:lnTo>
                    <a:pt x="14" y="16966"/>
                  </a:lnTo>
                  <a:lnTo>
                    <a:pt x="7" y="16907"/>
                  </a:lnTo>
                  <a:lnTo>
                    <a:pt x="2" y="16847"/>
                  </a:lnTo>
                  <a:lnTo>
                    <a:pt x="0" y="16786"/>
                  </a:lnTo>
                  <a:lnTo>
                    <a:pt x="0" y="1185"/>
                  </a:lnTo>
                  <a:lnTo>
                    <a:pt x="2" y="1124"/>
                  </a:lnTo>
                  <a:lnTo>
                    <a:pt x="7" y="1064"/>
                  </a:lnTo>
                  <a:lnTo>
                    <a:pt x="14" y="1005"/>
                  </a:lnTo>
                  <a:lnTo>
                    <a:pt x="24" y="947"/>
                  </a:lnTo>
                  <a:lnTo>
                    <a:pt x="38" y="890"/>
                  </a:lnTo>
                  <a:lnTo>
                    <a:pt x="54" y="834"/>
                  </a:lnTo>
                  <a:lnTo>
                    <a:pt x="73" y="779"/>
                  </a:lnTo>
                  <a:lnTo>
                    <a:pt x="94" y="725"/>
                  </a:lnTo>
                  <a:lnTo>
                    <a:pt x="118" y="673"/>
                  </a:lnTo>
                  <a:lnTo>
                    <a:pt x="144" y="622"/>
                  </a:lnTo>
                  <a:lnTo>
                    <a:pt x="172" y="572"/>
                  </a:lnTo>
                  <a:lnTo>
                    <a:pt x="203" y="524"/>
                  </a:lnTo>
                  <a:lnTo>
                    <a:pt x="236" y="477"/>
                  </a:lnTo>
                  <a:lnTo>
                    <a:pt x="272" y="432"/>
                  </a:lnTo>
                  <a:lnTo>
                    <a:pt x="309" y="389"/>
                  </a:lnTo>
                  <a:lnTo>
                    <a:pt x="349" y="348"/>
                  </a:lnTo>
                  <a:lnTo>
                    <a:pt x="390" y="308"/>
                  </a:lnTo>
                  <a:lnTo>
                    <a:pt x="432" y="272"/>
                  </a:lnTo>
                  <a:lnTo>
                    <a:pt x="478" y="236"/>
                  </a:lnTo>
                  <a:lnTo>
                    <a:pt x="525" y="203"/>
                  </a:lnTo>
                  <a:lnTo>
                    <a:pt x="573" y="173"/>
                  </a:lnTo>
                  <a:lnTo>
                    <a:pt x="622" y="143"/>
                  </a:lnTo>
                  <a:lnTo>
                    <a:pt x="673" y="117"/>
                  </a:lnTo>
                  <a:lnTo>
                    <a:pt x="725" y="94"/>
                  </a:lnTo>
                  <a:lnTo>
                    <a:pt x="779" y="72"/>
                  </a:lnTo>
                  <a:lnTo>
                    <a:pt x="835" y="53"/>
                  </a:lnTo>
                  <a:lnTo>
                    <a:pt x="891" y="37"/>
                  </a:lnTo>
                  <a:lnTo>
                    <a:pt x="948" y="24"/>
                  </a:lnTo>
                  <a:lnTo>
                    <a:pt x="1006" y="14"/>
                  </a:lnTo>
                  <a:lnTo>
                    <a:pt x="1065" y="6"/>
                  </a:lnTo>
                  <a:lnTo>
                    <a:pt x="1125" y="2"/>
                  </a:lnTo>
                  <a:lnTo>
                    <a:pt x="118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14"/>
            <p:cNvSpPr>
              <a:spLocks/>
            </p:cNvSpPr>
            <p:nvPr/>
          </p:nvSpPr>
          <p:spPr bwMode="auto">
            <a:xfrm>
              <a:off x="4463127" y="1840558"/>
              <a:ext cx="2085128" cy="4499645"/>
            </a:xfrm>
            <a:custGeom>
              <a:avLst/>
              <a:gdLst>
                <a:gd name="T0" fmla="*/ 7193 w 8280"/>
                <a:gd name="T1" fmla="*/ 2 h 17873"/>
                <a:gd name="T2" fmla="*/ 7364 w 8280"/>
                <a:gd name="T3" fmla="*/ 23 h 17873"/>
                <a:gd name="T4" fmla="*/ 7527 w 8280"/>
                <a:gd name="T5" fmla="*/ 70 h 17873"/>
                <a:gd name="T6" fmla="*/ 7679 w 8280"/>
                <a:gd name="T7" fmla="*/ 140 h 17873"/>
                <a:gd name="T8" fmla="*/ 7819 w 8280"/>
                <a:gd name="T9" fmla="*/ 228 h 17873"/>
                <a:gd name="T10" fmla="*/ 7944 w 8280"/>
                <a:gd name="T11" fmla="*/ 337 h 17873"/>
                <a:gd name="T12" fmla="*/ 8052 w 8280"/>
                <a:gd name="T13" fmla="*/ 462 h 17873"/>
                <a:gd name="T14" fmla="*/ 8142 w 8280"/>
                <a:gd name="T15" fmla="*/ 601 h 17873"/>
                <a:gd name="T16" fmla="*/ 8211 w 8280"/>
                <a:gd name="T17" fmla="*/ 754 h 17873"/>
                <a:gd name="T18" fmla="*/ 8257 w 8280"/>
                <a:gd name="T19" fmla="*/ 916 h 17873"/>
                <a:gd name="T20" fmla="*/ 8279 w 8280"/>
                <a:gd name="T21" fmla="*/ 1088 h 17873"/>
                <a:gd name="T22" fmla="*/ 8279 w 8280"/>
                <a:gd name="T23" fmla="*/ 16786 h 17873"/>
                <a:gd name="T24" fmla="*/ 8257 w 8280"/>
                <a:gd name="T25" fmla="*/ 16957 h 17873"/>
                <a:gd name="T26" fmla="*/ 8211 w 8280"/>
                <a:gd name="T27" fmla="*/ 17120 h 17873"/>
                <a:gd name="T28" fmla="*/ 8142 w 8280"/>
                <a:gd name="T29" fmla="*/ 17273 h 17873"/>
                <a:gd name="T30" fmla="*/ 8052 w 8280"/>
                <a:gd name="T31" fmla="*/ 17412 h 17873"/>
                <a:gd name="T32" fmla="*/ 7944 w 8280"/>
                <a:gd name="T33" fmla="*/ 17536 h 17873"/>
                <a:gd name="T34" fmla="*/ 7819 w 8280"/>
                <a:gd name="T35" fmla="*/ 17644 h 17873"/>
                <a:gd name="T36" fmla="*/ 7679 w 8280"/>
                <a:gd name="T37" fmla="*/ 17734 h 17873"/>
                <a:gd name="T38" fmla="*/ 7527 w 8280"/>
                <a:gd name="T39" fmla="*/ 17803 h 17873"/>
                <a:gd name="T40" fmla="*/ 7364 w 8280"/>
                <a:gd name="T41" fmla="*/ 17849 h 17873"/>
                <a:gd name="T42" fmla="*/ 7193 w 8280"/>
                <a:gd name="T43" fmla="*/ 17871 h 17873"/>
                <a:gd name="T44" fmla="*/ 1088 w 8280"/>
                <a:gd name="T45" fmla="*/ 17871 h 17873"/>
                <a:gd name="T46" fmla="*/ 915 w 8280"/>
                <a:gd name="T47" fmla="*/ 17849 h 17873"/>
                <a:gd name="T48" fmla="*/ 752 w 8280"/>
                <a:gd name="T49" fmla="*/ 17803 h 17873"/>
                <a:gd name="T50" fmla="*/ 601 w 8280"/>
                <a:gd name="T51" fmla="*/ 17734 h 17873"/>
                <a:gd name="T52" fmla="*/ 461 w 8280"/>
                <a:gd name="T53" fmla="*/ 17644 h 17873"/>
                <a:gd name="T54" fmla="*/ 336 w 8280"/>
                <a:gd name="T55" fmla="*/ 17536 h 17873"/>
                <a:gd name="T56" fmla="*/ 228 w 8280"/>
                <a:gd name="T57" fmla="*/ 17412 h 17873"/>
                <a:gd name="T58" fmla="*/ 139 w 8280"/>
                <a:gd name="T59" fmla="*/ 17273 h 17873"/>
                <a:gd name="T60" fmla="*/ 69 w 8280"/>
                <a:gd name="T61" fmla="*/ 17120 h 17873"/>
                <a:gd name="T62" fmla="*/ 22 w 8280"/>
                <a:gd name="T63" fmla="*/ 16957 h 17873"/>
                <a:gd name="T64" fmla="*/ 1 w 8280"/>
                <a:gd name="T65" fmla="*/ 16786 h 17873"/>
                <a:gd name="T66" fmla="*/ 1 w 8280"/>
                <a:gd name="T67" fmla="*/ 1088 h 17873"/>
                <a:gd name="T68" fmla="*/ 22 w 8280"/>
                <a:gd name="T69" fmla="*/ 916 h 17873"/>
                <a:gd name="T70" fmla="*/ 69 w 8280"/>
                <a:gd name="T71" fmla="*/ 754 h 17873"/>
                <a:gd name="T72" fmla="*/ 139 w 8280"/>
                <a:gd name="T73" fmla="*/ 601 h 17873"/>
                <a:gd name="T74" fmla="*/ 228 w 8280"/>
                <a:gd name="T75" fmla="*/ 462 h 17873"/>
                <a:gd name="T76" fmla="*/ 336 w 8280"/>
                <a:gd name="T77" fmla="*/ 337 h 17873"/>
                <a:gd name="T78" fmla="*/ 461 w 8280"/>
                <a:gd name="T79" fmla="*/ 228 h 17873"/>
                <a:gd name="T80" fmla="*/ 601 w 8280"/>
                <a:gd name="T81" fmla="*/ 140 h 17873"/>
                <a:gd name="T82" fmla="*/ 752 w 8280"/>
                <a:gd name="T83" fmla="*/ 70 h 17873"/>
                <a:gd name="T84" fmla="*/ 915 w 8280"/>
                <a:gd name="T85" fmla="*/ 23 h 17873"/>
                <a:gd name="T86" fmla="*/ 1088 w 8280"/>
                <a:gd name="T87" fmla="*/ 2 h 178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280" h="17873">
                  <a:moveTo>
                    <a:pt x="1146" y="0"/>
                  </a:moveTo>
                  <a:lnTo>
                    <a:pt x="7134" y="0"/>
                  </a:lnTo>
                  <a:lnTo>
                    <a:pt x="7193" y="2"/>
                  </a:lnTo>
                  <a:lnTo>
                    <a:pt x="7250" y="6"/>
                  </a:lnTo>
                  <a:lnTo>
                    <a:pt x="7308" y="14"/>
                  </a:lnTo>
                  <a:lnTo>
                    <a:pt x="7364" y="23"/>
                  </a:lnTo>
                  <a:lnTo>
                    <a:pt x="7420" y="37"/>
                  </a:lnTo>
                  <a:lnTo>
                    <a:pt x="7474" y="52"/>
                  </a:lnTo>
                  <a:lnTo>
                    <a:pt x="7527" y="70"/>
                  </a:lnTo>
                  <a:lnTo>
                    <a:pt x="7579" y="90"/>
                  </a:lnTo>
                  <a:lnTo>
                    <a:pt x="7630" y="113"/>
                  </a:lnTo>
                  <a:lnTo>
                    <a:pt x="7679" y="140"/>
                  </a:lnTo>
                  <a:lnTo>
                    <a:pt x="7727" y="167"/>
                  </a:lnTo>
                  <a:lnTo>
                    <a:pt x="7774" y="197"/>
                  </a:lnTo>
                  <a:lnTo>
                    <a:pt x="7819" y="228"/>
                  </a:lnTo>
                  <a:lnTo>
                    <a:pt x="7863" y="263"/>
                  </a:lnTo>
                  <a:lnTo>
                    <a:pt x="7904" y="299"/>
                  </a:lnTo>
                  <a:lnTo>
                    <a:pt x="7944" y="337"/>
                  </a:lnTo>
                  <a:lnTo>
                    <a:pt x="7981" y="377"/>
                  </a:lnTo>
                  <a:lnTo>
                    <a:pt x="8018" y="419"/>
                  </a:lnTo>
                  <a:lnTo>
                    <a:pt x="8052" y="462"/>
                  </a:lnTo>
                  <a:lnTo>
                    <a:pt x="8084" y="507"/>
                  </a:lnTo>
                  <a:lnTo>
                    <a:pt x="8114" y="553"/>
                  </a:lnTo>
                  <a:lnTo>
                    <a:pt x="8142" y="601"/>
                  </a:lnTo>
                  <a:lnTo>
                    <a:pt x="8167" y="650"/>
                  </a:lnTo>
                  <a:lnTo>
                    <a:pt x="8190" y="702"/>
                  </a:lnTo>
                  <a:lnTo>
                    <a:pt x="8211" y="754"/>
                  </a:lnTo>
                  <a:lnTo>
                    <a:pt x="8229" y="806"/>
                  </a:lnTo>
                  <a:lnTo>
                    <a:pt x="8245" y="861"/>
                  </a:lnTo>
                  <a:lnTo>
                    <a:pt x="8257" y="916"/>
                  </a:lnTo>
                  <a:lnTo>
                    <a:pt x="8268" y="973"/>
                  </a:lnTo>
                  <a:lnTo>
                    <a:pt x="8275" y="1030"/>
                  </a:lnTo>
                  <a:lnTo>
                    <a:pt x="8279" y="1088"/>
                  </a:lnTo>
                  <a:lnTo>
                    <a:pt x="8280" y="1146"/>
                  </a:lnTo>
                  <a:lnTo>
                    <a:pt x="8280" y="16727"/>
                  </a:lnTo>
                  <a:lnTo>
                    <a:pt x="8279" y="16786"/>
                  </a:lnTo>
                  <a:lnTo>
                    <a:pt x="8275" y="16844"/>
                  </a:lnTo>
                  <a:lnTo>
                    <a:pt x="8268" y="16901"/>
                  </a:lnTo>
                  <a:lnTo>
                    <a:pt x="8257" y="16957"/>
                  </a:lnTo>
                  <a:lnTo>
                    <a:pt x="8245" y="17013"/>
                  </a:lnTo>
                  <a:lnTo>
                    <a:pt x="8229" y="17066"/>
                  </a:lnTo>
                  <a:lnTo>
                    <a:pt x="8211" y="17120"/>
                  </a:lnTo>
                  <a:lnTo>
                    <a:pt x="8190" y="17172"/>
                  </a:lnTo>
                  <a:lnTo>
                    <a:pt x="8167" y="17222"/>
                  </a:lnTo>
                  <a:lnTo>
                    <a:pt x="8142" y="17273"/>
                  </a:lnTo>
                  <a:lnTo>
                    <a:pt x="8114" y="17320"/>
                  </a:lnTo>
                  <a:lnTo>
                    <a:pt x="8084" y="17366"/>
                  </a:lnTo>
                  <a:lnTo>
                    <a:pt x="8052" y="17412"/>
                  </a:lnTo>
                  <a:lnTo>
                    <a:pt x="8018" y="17455"/>
                  </a:lnTo>
                  <a:lnTo>
                    <a:pt x="7981" y="17496"/>
                  </a:lnTo>
                  <a:lnTo>
                    <a:pt x="7944" y="17536"/>
                  </a:lnTo>
                  <a:lnTo>
                    <a:pt x="7904" y="17575"/>
                  </a:lnTo>
                  <a:lnTo>
                    <a:pt x="7863" y="17610"/>
                  </a:lnTo>
                  <a:lnTo>
                    <a:pt x="7819" y="17644"/>
                  </a:lnTo>
                  <a:lnTo>
                    <a:pt x="7774" y="17676"/>
                  </a:lnTo>
                  <a:lnTo>
                    <a:pt x="7727" y="17707"/>
                  </a:lnTo>
                  <a:lnTo>
                    <a:pt x="7679" y="17734"/>
                  </a:lnTo>
                  <a:lnTo>
                    <a:pt x="7630" y="17759"/>
                  </a:lnTo>
                  <a:lnTo>
                    <a:pt x="7579" y="17782"/>
                  </a:lnTo>
                  <a:lnTo>
                    <a:pt x="7527" y="17803"/>
                  </a:lnTo>
                  <a:lnTo>
                    <a:pt x="7474" y="17821"/>
                  </a:lnTo>
                  <a:lnTo>
                    <a:pt x="7420" y="17837"/>
                  </a:lnTo>
                  <a:lnTo>
                    <a:pt x="7364" y="17849"/>
                  </a:lnTo>
                  <a:lnTo>
                    <a:pt x="7308" y="17860"/>
                  </a:lnTo>
                  <a:lnTo>
                    <a:pt x="7250" y="17868"/>
                  </a:lnTo>
                  <a:lnTo>
                    <a:pt x="7193" y="17871"/>
                  </a:lnTo>
                  <a:lnTo>
                    <a:pt x="7134" y="17873"/>
                  </a:lnTo>
                  <a:lnTo>
                    <a:pt x="1146" y="17873"/>
                  </a:lnTo>
                  <a:lnTo>
                    <a:pt x="1088" y="17871"/>
                  </a:lnTo>
                  <a:lnTo>
                    <a:pt x="1029" y="17868"/>
                  </a:lnTo>
                  <a:lnTo>
                    <a:pt x="972" y="17860"/>
                  </a:lnTo>
                  <a:lnTo>
                    <a:pt x="915" y="17849"/>
                  </a:lnTo>
                  <a:lnTo>
                    <a:pt x="861" y="17837"/>
                  </a:lnTo>
                  <a:lnTo>
                    <a:pt x="806" y="17821"/>
                  </a:lnTo>
                  <a:lnTo>
                    <a:pt x="752" y="17803"/>
                  </a:lnTo>
                  <a:lnTo>
                    <a:pt x="701" y="17782"/>
                  </a:lnTo>
                  <a:lnTo>
                    <a:pt x="650" y="17759"/>
                  </a:lnTo>
                  <a:lnTo>
                    <a:pt x="601" y="17734"/>
                  </a:lnTo>
                  <a:lnTo>
                    <a:pt x="553" y="17707"/>
                  </a:lnTo>
                  <a:lnTo>
                    <a:pt x="506" y="17676"/>
                  </a:lnTo>
                  <a:lnTo>
                    <a:pt x="461" y="17644"/>
                  </a:lnTo>
                  <a:lnTo>
                    <a:pt x="418" y="17610"/>
                  </a:lnTo>
                  <a:lnTo>
                    <a:pt x="376" y="17575"/>
                  </a:lnTo>
                  <a:lnTo>
                    <a:pt x="336" y="17536"/>
                  </a:lnTo>
                  <a:lnTo>
                    <a:pt x="298" y="17496"/>
                  </a:lnTo>
                  <a:lnTo>
                    <a:pt x="262" y="17455"/>
                  </a:lnTo>
                  <a:lnTo>
                    <a:pt x="228" y="17412"/>
                  </a:lnTo>
                  <a:lnTo>
                    <a:pt x="196" y="17366"/>
                  </a:lnTo>
                  <a:lnTo>
                    <a:pt x="166" y="17320"/>
                  </a:lnTo>
                  <a:lnTo>
                    <a:pt x="139" y="17273"/>
                  </a:lnTo>
                  <a:lnTo>
                    <a:pt x="112" y="17222"/>
                  </a:lnTo>
                  <a:lnTo>
                    <a:pt x="90" y="17172"/>
                  </a:lnTo>
                  <a:lnTo>
                    <a:pt x="69" y="17120"/>
                  </a:lnTo>
                  <a:lnTo>
                    <a:pt x="51" y="17066"/>
                  </a:lnTo>
                  <a:lnTo>
                    <a:pt x="36" y="17013"/>
                  </a:lnTo>
                  <a:lnTo>
                    <a:pt x="22" y="16957"/>
                  </a:lnTo>
                  <a:lnTo>
                    <a:pt x="13" y="16901"/>
                  </a:lnTo>
                  <a:lnTo>
                    <a:pt x="5" y="16844"/>
                  </a:lnTo>
                  <a:lnTo>
                    <a:pt x="1" y="16786"/>
                  </a:lnTo>
                  <a:lnTo>
                    <a:pt x="0" y="16727"/>
                  </a:lnTo>
                  <a:lnTo>
                    <a:pt x="0" y="1146"/>
                  </a:lnTo>
                  <a:lnTo>
                    <a:pt x="1" y="1088"/>
                  </a:lnTo>
                  <a:lnTo>
                    <a:pt x="5" y="1030"/>
                  </a:lnTo>
                  <a:lnTo>
                    <a:pt x="13" y="973"/>
                  </a:lnTo>
                  <a:lnTo>
                    <a:pt x="22" y="916"/>
                  </a:lnTo>
                  <a:lnTo>
                    <a:pt x="36" y="861"/>
                  </a:lnTo>
                  <a:lnTo>
                    <a:pt x="51" y="806"/>
                  </a:lnTo>
                  <a:lnTo>
                    <a:pt x="69" y="754"/>
                  </a:lnTo>
                  <a:lnTo>
                    <a:pt x="90" y="702"/>
                  </a:lnTo>
                  <a:lnTo>
                    <a:pt x="112" y="650"/>
                  </a:lnTo>
                  <a:lnTo>
                    <a:pt x="139" y="601"/>
                  </a:lnTo>
                  <a:lnTo>
                    <a:pt x="166" y="553"/>
                  </a:lnTo>
                  <a:lnTo>
                    <a:pt x="196" y="507"/>
                  </a:lnTo>
                  <a:lnTo>
                    <a:pt x="228" y="462"/>
                  </a:lnTo>
                  <a:lnTo>
                    <a:pt x="262" y="419"/>
                  </a:lnTo>
                  <a:lnTo>
                    <a:pt x="298" y="377"/>
                  </a:lnTo>
                  <a:lnTo>
                    <a:pt x="336" y="337"/>
                  </a:lnTo>
                  <a:lnTo>
                    <a:pt x="376" y="299"/>
                  </a:lnTo>
                  <a:lnTo>
                    <a:pt x="418" y="263"/>
                  </a:lnTo>
                  <a:lnTo>
                    <a:pt x="461" y="228"/>
                  </a:lnTo>
                  <a:lnTo>
                    <a:pt x="506" y="197"/>
                  </a:lnTo>
                  <a:lnTo>
                    <a:pt x="553" y="167"/>
                  </a:lnTo>
                  <a:lnTo>
                    <a:pt x="601" y="140"/>
                  </a:lnTo>
                  <a:lnTo>
                    <a:pt x="650" y="113"/>
                  </a:lnTo>
                  <a:lnTo>
                    <a:pt x="701" y="90"/>
                  </a:lnTo>
                  <a:lnTo>
                    <a:pt x="752" y="70"/>
                  </a:lnTo>
                  <a:lnTo>
                    <a:pt x="806" y="52"/>
                  </a:lnTo>
                  <a:lnTo>
                    <a:pt x="861" y="37"/>
                  </a:lnTo>
                  <a:lnTo>
                    <a:pt x="915" y="23"/>
                  </a:lnTo>
                  <a:lnTo>
                    <a:pt x="972" y="14"/>
                  </a:lnTo>
                  <a:lnTo>
                    <a:pt x="1029" y="6"/>
                  </a:lnTo>
                  <a:lnTo>
                    <a:pt x="1088" y="2"/>
                  </a:lnTo>
                  <a:lnTo>
                    <a:pt x="1146" y="0"/>
                  </a:lnTo>
                  <a:close/>
                </a:path>
              </a:pathLst>
            </a:custGeom>
            <a:solidFill>
              <a:srgbClr val="999BA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15"/>
            <p:cNvSpPr>
              <a:spLocks/>
            </p:cNvSpPr>
            <p:nvPr/>
          </p:nvSpPr>
          <p:spPr bwMode="auto">
            <a:xfrm>
              <a:off x="4478235" y="1855667"/>
              <a:ext cx="2053399" cy="4469426"/>
            </a:xfrm>
            <a:custGeom>
              <a:avLst/>
              <a:gdLst>
                <a:gd name="T0" fmla="*/ 7129 w 8158"/>
                <a:gd name="T1" fmla="*/ 1 h 17752"/>
                <a:gd name="T2" fmla="*/ 7291 w 8158"/>
                <a:gd name="T3" fmla="*/ 22 h 17752"/>
                <a:gd name="T4" fmla="*/ 7445 w 8158"/>
                <a:gd name="T5" fmla="*/ 66 h 17752"/>
                <a:gd name="T6" fmla="*/ 7589 w 8158"/>
                <a:gd name="T7" fmla="*/ 131 h 17752"/>
                <a:gd name="T8" fmla="*/ 7721 w 8158"/>
                <a:gd name="T9" fmla="*/ 215 h 17752"/>
                <a:gd name="T10" fmla="*/ 7839 w 8158"/>
                <a:gd name="T11" fmla="*/ 318 h 17752"/>
                <a:gd name="T12" fmla="*/ 7942 w 8158"/>
                <a:gd name="T13" fmla="*/ 436 h 17752"/>
                <a:gd name="T14" fmla="*/ 8026 w 8158"/>
                <a:gd name="T15" fmla="*/ 568 h 17752"/>
                <a:gd name="T16" fmla="*/ 8092 w 8158"/>
                <a:gd name="T17" fmla="*/ 712 h 17752"/>
                <a:gd name="T18" fmla="*/ 8136 w 8158"/>
                <a:gd name="T19" fmla="*/ 866 h 17752"/>
                <a:gd name="T20" fmla="*/ 8157 w 8158"/>
                <a:gd name="T21" fmla="*/ 1028 h 17752"/>
                <a:gd name="T22" fmla="*/ 8157 w 8158"/>
                <a:gd name="T23" fmla="*/ 16724 h 17752"/>
                <a:gd name="T24" fmla="*/ 8136 w 8158"/>
                <a:gd name="T25" fmla="*/ 16886 h 17752"/>
                <a:gd name="T26" fmla="*/ 8092 w 8158"/>
                <a:gd name="T27" fmla="*/ 17039 h 17752"/>
                <a:gd name="T28" fmla="*/ 8026 w 8158"/>
                <a:gd name="T29" fmla="*/ 17183 h 17752"/>
                <a:gd name="T30" fmla="*/ 7942 w 8158"/>
                <a:gd name="T31" fmla="*/ 17315 h 17752"/>
                <a:gd name="T32" fmla="*/ 7839 w 8158"/>
                <a:gd name="T33" fmla="*/ 17434 h 17752"/>
                <a:gd name="T34" fmla="*/ 7721 w 8158"/>
                <a:gd name="T35" fmla="*/ 17535 h 17752"/>
                <a:gd name="T36" fmla="*/ 7589 w 8158"/>
                <a:gd name="T37" fmla="*/ 17621 h 17752"/>
                <a:gd name="T38" fmla="*/ 7445 w 8158"/>
                <a:gd name="T39" fmla="*/ 17686 h 17752"/>
                <a:gd name="T40" fmla="*/ 7291 w 8158"/>
                <a:gd name="T41" fmla="*/ 17730 h 17752"/>
                <a:gd name="T42" fmla="*/ 7129 w 8158"/>
                <a:gd name="T43" fmla="*/ 17751 h 17752"/>
                <a:gd name="T44" fmla="*/ 1030 w 8158"/>
                <a:gd name="T45" fmla="*/ 17751 h 17752"/>
                <a:gd name="T46" fmla="*/ 867 w 8158"/>
                <a:gd name="T47" fmla="*/ 17730 h 17752"/>
                <a:gd name="T48" fmla="*/ 713 w 8158"/>
                <a:gd name="T49" fmla="*/ 17686 h 17752"/>
                <a:gd name="T50" fmla="*/ 569 w 8158"/>
                <a:gd name="T51" fmla="*/ 17621 h 17752"/>
                <a:gd name="T52" fmla="*/ 437 w 8158"/>
                <a:gd name="T53" fmla="*/ 17535 h 17752"/>
                <a:gd name="T54" fmla="*/ 319 w 8158"/>
                <a:gd name="T55" fmla="*/ 17434 h 17752"/>
                <a:gd name="T56" fmla="*/ 217 w 8158"/>
                <a:gd name="T57" fmla="*/ 17315 h 17752"/>
                <a:gd name="T58" fmla="*/ 131 w 8158"/>
                <a:gd name="T59" fmla="*/ 17183 h 17752"/>
                <a:gd name="T60" fmla="*/ 66 w 8158"/>
                <a:gd name="T61" fmla="*/ 17039 h 17752"/>
                <a:gd name="T62" fmla="*/ 22 w 8158"/>
                <a:gd name="T63" fmla="*/ 16886 h 17752"/>
                <a:gd name="T64" fmla="*/ 1 w 8158"/>
                <a:gd name="T65" fmla="*/ 16724 h 17752"/>
                <a:gd name="T66" fmla="*/ 1 w 8158"/>
                <a:gd name="T67" fmla="*/ 1028 h 17752"/>
                <a:gd name="T68" fmla="*/ 22 w 8158"/>
                <a:gd name="T69" fmla="*/ 866 h 17752"/>
                <a:gd name="T70" fmla="*/ 66 w 8158"/>
                <a:gd name="T71" fmla="*/ 712 h 17752"/>
                <a:gd name="T72" fmla="*/ 131 w 8158"/>
                <a:gd name="T73" fmla="*/ 568 h 17752"/>
                <a:gd name="T74" fmla="*/ 217 w 8158"/>
                <a:gd name="T75" fmla="*/ 436 h 17752"/>
                <a:gd name="T76" fmla="*/ 319 w 8158"/>
                <a:gd name="T77" fmla="*/ 318 h 17752"/>
                <a:gd name="T78" fmla="*/ 437 w 8158"/>
                <a:gd name="T79" fmla="*/ 215 h 17752"/>
                <a:gd name="T80" fmla="*/ 569 w 8158"/>
                <a:gd name="T81" fmla="*/ 131 h 17752"/>
                <a:gd name="T82" fmla="*/ 713 w 8158"/>
                <a:gd name="T83" fmla="*/ 66 h 17752"/>
                <a:gd name="T84" fmla="*/ 867 w 8158"/>
                <a:gd name="T85" fmla="*/ 22 h 17752"/>
                <a:gd name="T86" fmla="*/ 1030 w 8158"/>
                <a:gd name="T87" fmla="*/ 1 h 177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158" h="17752">
                  <a:moveTo>
                    <a:pt x="1085" y="0"/>
                  </a:moveTo>
                  <a:lnTo>
                    <a:pt x="7073" y="0"/>
                  </a:lnTo>
                  <a:lnTo>
                    <a:pt x="7129" y="1"/>
                  </a:lnTo>
                  <a:lnTo>
                    <a:pt x="7184" y="4"/>
                  </a:lnTo>
                  <a:lnTo>
                    <a:pt x="7237" y="12"/>
                  </a:lnTo>
                  <a:lnTo>
                    <a:pt x="7291" y="22"/>
                  </a:lnTo>
                  <a:lnTo>
                    <a:pt x="7343" y="34"/>
                  </a:lnTo>
                  <a:lnTo>
                    <a:pt x="7395" y="49"/>
                  </a:lnTo>
                  <a:lnTo>
                    <a:pt x="7445" y="66"/>
                  </a:lnTo>
                  <a:lnTo>
                    <a:pt x="7494" y="85"/>
                  </a:lnTo>
                  <a:lnTo>
                    <a:pt x="7542" y="107"/>
                  </a:lnTo>
                  <a:lnTo>
                    <a:pt x="7589" y="131"/>
                  </a:lnTo>
                  <a:lnTo>
                    <a:pt x="7634" y="157"/>
                  </a:lnTo>
                  <a:lnTo>
                    <a:pt x="7679" y="186"/>
                  </a:lnTo>
                  <a:lnTo>
                    <a:pt x="7721" y="215"/>
                  </a:lnTo>
                  <a:lnTo>
                    <a:pt x="7762" y="247"/>
                  </a:lnTo>
                  <a:lnTo>
                    <a:pt x="7802" y="281"/>
                  </a:lnTo>
                  <a:lnTo>
                    <a:pt x="7839" y="318"/>
                  </a:lnTo>
                  <a:lnTo>
                    <a:pt x="7875" y="356"/>
                  </a:lnTo>
                  <a:lnTo>
                    <a:pt x="7909" y="395"/>
                  </a:lnTo>
                  <a:lnTo>
                    <a:pt x="7942" y="436"/>
                  </a:lnTo>
                  <a:lnTo>
                    <a:pt x="7972" y="479"/>
                  </a:lnTo>
                  <a:lnTo>
                    <a:pt x="8000" y="523"/>
                  </a:lnTo>
                  <a:lnTo>
                    <a:pt x="8026" y="568"/>
                  </a:lnTo>
                  <a:lnTo>
                    <a:pt x="8050" y="614"/>
                  </a:lnTo>
                  <a:lnTo>
                    <a:pt x="8072" y="662"/>
                  </a:lnTo>
                  <a:lnTo>
                    <a:pt x="8092" y="712"/>
                  </a:lnTo>
                  <a:lnTo>
                    <a:pt x="8109" y="763"/>
                  </a:lnTo>
                  <a:lnTo>
                    <a:pt x="8123" y="814"/>
                  </a:lnTo>
                  <a:lnTo>
                    <a:pt x="8136" y="866"/>
                  </a:lnTo>
                  <a:lnTo>
                    <a:pt x="8145" y="919"/>
                  </a:lnTo>
                  <a:lnTo>
                    <a:pt x="8152" y="973"/>
                  </a:lnTo>
                  <a:lnTo>
                    <a:pt x="8157" y="1028"/>
                  </a:lnTo>
                  <a:lnTo>
                    <a:pt x="8158" y="1084"/>
                  </a:lnTo>
                  <a:lnTo>
                    <a:pt x="8158" y="16668"/>
                  </a:lnTo>
                  <a:lnTo>
                    <a:pt x="8157" y="16724"/>
                  </a:lnTo>
                  <a:lnTo>
                    <a:pt x="8152" y="16778"/>
                  </a:lnTo>
                  <a:lnTo>
                    <a:pt x="8145" y="16832"/>
                  </a:lnTo>
                  <a:lnTo>
                    <a:pt x="8136" y="16886"/>
                  </a:lnTo>
                  <a:lnTo>
                    <a:pt x="8123" y="16938"/>
                  </a:lnTo>
                  <a:lnTo>
                    <a:pt x="8109" y="16989"/>
                  </a:lnTo>
                  <a:lnTo>
                    <a:pt x="8092" y="17039"/>
                  </a:lnTo>
                  <a:lnTo>
                    <a:pt x="8072" y="17088"/>
                  </a:lnTo>
                  <a:lnTo>
                    <a:pt x="8050" y="17136"/>
                  </a:lnTo>
                  <a:lnTo>
                    <a:pt x="8026" y="17183"/>
                  </a:lnTo>
                  <a:lnTo>
                    <a:pt x="8000" y="17229"/>
                  </a:lnTo>
                  <a:lnTo>
                    <a:pt x="7972" y="17273"/>
                  </a:lnTo>
                  <a:lnTo>
                    <a:pt x="7942" y="17315"/>
                  </a:lnTo>
                  <a:lnTo>
                    <a:pt x="7909" y="17356"/>
                  </a:lnTo>
                  <a:lnTo>
                    <a:pt x="7875" y="17396"/>
                  </a:lnTo>
                  <a:lnTo>
                    <a:pt x="7839" y="17434"/>
                  </a:lnTo>
                  <a:lnTo>
                    <a:pt x="7802" y="17469"/>
                  </a:lnTo>
                  <a:lnTo>
                    <a:pt x="7762" y="17503"/>
                  </a:lnTo>
                  <a:lnTo>
                    <a:pt x="7721" y="17535"/>
                  </a:lnTo>
                  <a:lnTo>
                    <a:pt x="7679" y="17566"/>
                  </a:lnTo>
                  <a:lnTo>
                    <a:pt x="7634" y="17595"/>
                  </a:lnTo>
                  <a:lnTo>
                    <a:pt x="7589" y="17621"/>
                  </a:lnTo>
                  <a:lnTo>
                    <a:pt x="7542" y="17645"/>
                  </a:lnTo>
                  <a:lnTo>
                    <a:pt x="7494" y="17666"/>
                  </a:lnTo>
                  <a:lnTo>
                    <a:pt x="7445" y="17686"/>
                  </a:lnTo>
                  <a:lnTo>
                    <a:pt x="7395" y="17703"/>
                  </a:lnTo>
                  <a:lnTo>
                    <a:pt x="7343" y="17718"/>
                  </a:lnTo>
                  <a:lnTo>
                    <a:pt x="7291" y="17730"/>
                  </a:lnTo>
                  <a:lnTo>
                    <a:pt x="7237" y="17739"/>
                  </a:lnTo>
                  <a:lnTo>
                    <a:pt x="7184" y="17746"/>
                  </a:lnTo>
                  <a:lnTo>
                    <a:pt x="7129" y="17751"/>
                  </a:lnTo>
                  <a:lnTo>
                    <a:pt x="7073" y="17752"/>
                  </a:lnTo>
                  <a:lnTo>
                    <a:pt x="1085" y="17752"/>
                  </a:lnTo>
                  <a:lnTo>
                    <a:pt x="1030" y="17751"/>
                  </a:lnTo>
                  <a:lnTo>
                    <a:pt x="974" y="17746"/>
                  </a:lnTo>
                  <a:lnTo>
                    <a:pt x="921" y="17739"/>
                  </a:lnTo>
                  <a:lnTo>
                    <a:pt x="867" y="17730"/>
                  </a:lnTo>
                  <a:lnTo>
                    <a:pt x="815" y="17718"/>
                  </a:lnTo>
                  <a:lnTo>
                    <a:pt x="763" y="17703"/>
                  </a:lnTo>
                  <a:lnTo>
                    <a:pt x="713" y="17686"/>
                  </a:lnTo>
                  <a:lnTo>
                    <a:pt x="664" y="17666"/>
                  </a:lnTo>
                  <a:lnTo>
                    <a:pt x="616" y="17645"/>
                  </a:lnTo>
                  <a:lnTo>
                    <a:pt x="569" y="17621"/>
                  </a:lnTo>
                  <a:lnTo>
                    <a:pt x="524" y="17595"/>
                  </a:lnTo>
                  <a:lnTo>
                    <a:pt x="479" y="17566"/>
                  </a:lnTo>
                  <a:lnTo>
                    <a:pt x="437" y="17535"/>
                  </a:lnTo>
                  <a:lnTo>
                    <a:pt x="396" y="17503"/>
                  </a:lnTo>
                  <a:lnTo>
                    <a:pt x="357" y="17469"/>
                  </a:lnTo>
                  <a:lnTo>
                    <a:pt x="319" y="17434"/>
                  </a:lnTo>
                  <a:lnTo>
                    <a:pt x="283" y="17396"/>
                  </a:lnTo>
                  <a:lnTo>
                    <a:pt x="249" y="17356"/>
                  </a:lnTo>
                  <a:lnTo>
                    <a:pt x="217" y="17315"/>
                  </a:lnTo>
                  <a:lnTo>
                    <a:pt x="186" y="17273"/>
                  </a:lnTo>
                  <a:lnTo>
                    <a:pt x="158" y="17229"/>
                  </a:lnTo>
                  <a:lnTo>
                    <a:pt x="131" y="17183"/>
                  </a:lnTo>
                  <a:lnTo>
                    <a:pt x="107" y="17136"/>
                  </a:lnTo>
                  <a:lnTo>
                    <a:pt x="86" y="17088"/>
                  </a:lnTo>
                  <a:lnTo>
                    <a:pt x="66" y="17039"/>
                  </a:lnTo>
                  <a:lnTo>
                    <a:pt x="49" y="16989"/>
                  </a:lnTo>
                  <a:lnTo>
                    <a:pt x="34" y="16938"/>
                  </a:lnTo>
                  <a:lnTo>
                    <a:pt x="22" y="16886"/>
                  </a:lnTo>
                  <a:lnTo>
                    <a:pt x="13" y="16832"/>
                  </a:lnTo>
                  <a:lnTo>
                    <a:pt x="6" y="16778"/>
                  </a:lnTo>
                  <a:lnTo>
                    <a:pt x="1" y="16724"/>
                  </a:lnTo>
                  <a:lnTo>
                    <a:pt x="0" y="16668"/>
                  </a:lnTo>
                  <a:lnTo>
                    <a:pt x="0" y="1084"/>
                  </a:lnTo>
                  <a:lnTo>
                    <a:pt x="1" y="1028"/>
                  </a:lnTo>
                  <a:lnTo>
                    <a:pt x="6" y="973"/>
                  </a:lnTo>
                  <a:lnTo>
                    <a:pt x="13" y="919"/>
                  </a:lnTo>
                  <a:lnTo>
                    <a:pt x="22" y="866"/>
                  </a:lnTo>
                  <a:lnTo>
                    <a:pt x="34" y="814"/>
                  </a:lnTo>
                  <a:lnTo>
                    <a:pt x="49" y="763"/>
                  </a:lnTo>
                  <a:lnTo>
                    <a:pt x="66" y="712"/>
                  </a:lnTo>
                  <a:lnTo>
                    <a:pt x="86" y="662"/>
                  </a:lnTo>
                  <a:lnTo>
                    <a:pt x="107" y="614"/>
                  </a:lnTo>
                  <a:lnTo>
                    <a:pt x="131" y="568"/>
                  </a:lnTo>
                  <a:lnTo>
                    <a:pt x="158" y="523"/>
                  </a:lnTo>
                  <a:lnTo>
                    <a:pt x="186" y="479"/>
                  </a:lnTo>
                  <a:lnTo>
                    <a:pt x="217" y="436"/>
                  </a:lnTo>
                  <a:lnTo>
                    <a:pt x="249" y="395"/>
                  </a:lnTo>
                  <a:lnTo>
                    <a:pt x="283" y="356"/>
                  </a:lnTo>
                  <a:lnTo>
                    <a:pt x="319" y="318"/>
                  </a:lnTo>
                  <a:lnTo>
                    <a:pt x="357" y="281"/>
                  </a:lnTo>
                  <a:lnTo>
                    <a:pt x="396" y="247"/>
                  </a:lnTo>
                  <a:lnTo>
                    <a:pt x="437" y="215"/>
                  </a:lnTo>
                  <a:lnTo>
                    <a:pt x="479" y="186"/>
                  </a:lnTo>
                  <a:lnTo>
                    <a:pt x="524" y="157"/>
                  </a:lnTo>
                  <a:lnTo>
                    <a:pt x="569" y="131"/>
                  </a:lnTo>
                  <a:lnTo>
                    <a:pt x="616" y="107"/>
                  </a:lnTo>
                  <a:lnTo>
                    <a:pt x="664" y="85"/>
                  </a:lnTo>
                  <a:lnTo>
                    <a:pt x="713" y="66"/>
                  </a:lnTo>
                  <a:lnTo>
                    <a:pt x="763" y="49"/>
                  </a:lnTo>
                  <a:lnTo>
                    <a:pt x="815" y="34"/>
                  </a:lnTo>
                  <a:lnTo>
                    <a:pt x="867" y="22"/>
                  </a:lnTo>
                  <a:lnTo>
                    <a:pt x="921" y="12"/>
                  </a:lnTo>
                  <a:lnTo>
                    <a:pt x="974" y="4"/>
                  </a:lnTo>
                  <a:lnTo>
                    <a:pt x="1030" y="1"/>
                  </a:lnTo>
                  <a:lnTo>
                    <a:pt x="1085" y="0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16"/>
            <p:cNvSpPr>
              <a:spLocks/>
            </p:cNvSpPr>
            <p:nvPr/>
          </p:nvSpPr>
          <p:spPr bwMode="auto">
            <a:xfrm>
              <a:off x="4564362" y="2432855"/>
              <a:ext cx="1890214" cy="3330161"/>
            </a:xfrm>
            <a:custGeom>
              <a:avLst/>
              <a:gdLst>
                <a:gd name="T0" fmla="*/ 60 w 7504"/>
                <a:gd name="T1" fmla="*/ 0 h 13222"/>
                <a:gd name="T2" fmla="*/ 7444 w 7504"/>
                <a:gd name="T3" fmla="*/ 0 h 13222"/>
                <a:gd name="T4" fmla="*/ 7451 w 7504"/>
                <a:gd name="T5" fmla="*/ 0 h 13222"/>
                <a:gd name="T6" fmla="*/ 7457 w 7504"/>
                <a:gd name="T7" fmla="*/ 1 h 13222"/>
                <a:gd name="T8" fmla="*/ 7462 w 7504"/>
                <a:gd name="T9" fmla="*/ 2 h 13222"/>
                <a:gd name="T10" fmla="*/ 7468 w 7504"/>
                <a:gd name="T11" fmla="*/ 5 h 13222"/>
                <a:gd name="T12" fmla="*/ 7478 w 7504"/>
                <a:gd name="T13" fmla="*/ 10 h 13222"/>
                <a:gd name="T14" fmla="*/ 7486 w 7504"/>
                <a:gd name="T15" fmla="*/ 17 h 13222"/>
                <a:gd name="T16" fmla="*/ 7494 w 7504"/>
                <a:gd name="T17" fmla="*/ 26 h 13222"/>
                <a:gd name="T18" fmla="*/ 7500 w 7504"/>
                <a:gd name="T19" fmla="*/ 36 h 13222"/>
                <a:gd name="T20" fmla="*/ 7501 w 7504"/>
                <a:gd name="T21" fmla="*/ 42 h 13222"/>
                <a:gd name="T22" fmla="*/ 7503 w 7504"/>
                <a:gd name="T23" fmla="*/ 48 h 13222"/>
                <a:gd name="T24" fmla="*/ 7504 w 7504"/>
                <a:gd name="T25" fmla="*/ 54 h 13222"/>
                <a:gd name="T26" fmla="*/ 7504 w 7504"/>
                <a:gd name="T27" fmla="*/ 59 h 13222"/>
                <a:gd name="T28" fmla="*/ 7504 w 7504"/>
                <a:gd name="T29" fmla="*/ 13161 h 13222"/>
                <a:gd name="T30" fmla="*/ 7504 w 7504"/>
                <a:gd name="T31" fmla="*/ 13167 h 13222"/>
                <a:gd name="T32" fmla="*/ 7503 w 7504"/>
                <a:gd name="T33" fmla="*/ 13174 h 13222"/>
                <a:gd name="T34" fmla="*/ 7501 w 7504"/>
                <a:gd name="T35" fmla="*/ 13179 h 13222"/>
                <a:gd name="T36" fmla="*/ 7500 w 7504"/>
                <a:gd name="T37" fmla="*/ 13185 h 13222"/>
                <a:gd name="T38" fmla="*/ 7494 w 7504"/>
                <a:gd name="T39" fmla="*/ 13195 h 13222"/>
                <a:gd name="T40" fmla="*/ 7486 w 7504"/>
                <a:gd name="T41" fmla="*/ 13203 h 13222"/>
                <a:gd name="T42" fmla="*/ 7478 w 7504"/>
                <a:gd name="T43" fmla="*/ 13211 h 13222"/>
                <a:gd name="T44" fmla="*/ 7468 w 7504"/>
                <a:gd name="T45" fmla="*/ 13217 h 13222"/>
                <a:gd name="T46" fmla="*/ 7462 w 7504"/>
                <a:gd name="T47" fmla="*/ 13218 h 13222"/>
                <a:gd name="T48" fmla="*/ 7457 w 7504"/>
                <a:gd name="T49" fmla="*/ 13221 h 13222"/>
                <a:gd name="T50" fmla="*/ 7451 w 7504"/>
                <a:gd name="T51" fmla="*/ 13222 h 13222"/>
                <a:gd name="T52" fmla="*/ 7444 w 7504"/>
                <a:gd name="T53" fmla="*/ 13222 h 13222"/>
                <a:gd name="T54" fmla="*/ 60 w 7504"/>
                <a:gd name="T55" fmla="*/ 13222 h 13222"/>
                <a:gd name="T56" fmla="*/ 54 w 7504"/>
                <a:gd name="T57" fmla="*/ 13222 h 13222"/>
                <a:gd name="T58" fmla="*/ 48 w 7504"/>
                <a:gd name="T59" fmla="*/ 13221 h 13222"/>
                <a:gd name="T60" fmla="*/ 43 w 7504"/>
                <a:gd name="T61" fmla="*/ 13218 h 13222"/>
                <a:gd name="T62" fmla="*/ 37 w 7504"/>
                <a:gd name="T63" fmla="*/ 13217 h 13222"/>
                <a:gd name="T64" fmla="*/ 27 w 7504"/>
                <a:gd name="T65" fmla="*/ 13211 h 13222"/>
                <a:gd name="T66" fmla="*/ 18 w 7504"/>
                <a:gd name="T67" fmla="*/ 13203 h 13222"/>
                <a:gd name="T68" fmla="*/ 11 w 7504"/>
                <a:gd name="T69" fmla="*/ 13195 h 13222"/>
                <a:gd name="T70" fmla="*/ 5 w 7504"/>
                <a:gd name="T71" fmla="*/ 13185 h 13222"/>
                <a:gd name="T72" fmla="*/ 3 w 7504"/>
                <a:gd name="T73" fmla="*/ 13179 h 13222"/>
                <a:gd name="T74" fmla="*/ 2 w 7504"/>
                <a:gd name="T75" fmla="*/ 13174 h 13222"/>
                <a:gd name="T76" fmla="*/ 0 w 7504"/>
                <a:gd name="T77" fmla="*/ 13167 h 13222"/>
                <a:gd name="T78" fmla="*/ 0 w 7504"/>
                <a:gd name="T79" fmla="*/ 13161 h 13222"/>
                <a:gd name="T80" fmla="*/ 0 w 7504"/>
                <a:gd name="T81" fmla="*/ 59 h 13222"/>
                <a:gd name="T82" fmla="*/ 0 w 7504"/>
                <a:gd name="T83" fmla="*/ 54 h 13222"/>
                <a:gd name="T84" fmla="*/ 2 w 7504"/>
                <a:gd name="T85" fmla="*/ 48 h 13222"/>
                <a:gd name="T86" fmla="*/ 3 w 7504"/>
                <a:gd name="T87" fmla="*/ 42 h 13222"/>
                <a:gd name="T88" fmla="*/ 5 w 7504"/>
                <a:gd name="T89" fmla="*/ 36 h 13222"/>
                <a:gd name="T90" fmla="*/ 11 w 7504"/>
                <a:gd name="T91" fmla="*/ 26 h 13222"/>
                <a:gd name="T92" fmla="*/ 18 w 7504"/>
                <a:gd name="T93" fmla="*/ 17 h 13222"/>
                <a:gd name="T94" fmla="*/ 27 w 7504"/>
                <a:gd name="T95" fmla="*/ 10 h 13222"/>
                <a:gd name="T96" fmla="*/ 37 w 7504"/>
                <a:gd name="T97" fmla="*/ 5 h 13222"/>
                <a:gd name="T98" fmla="*/ 43 w 7504"/>
                <a:gd name="T99" fmla="*/ 2 h 13222"/>
                <a:gd name="T100" fmla="*/ 48 w 7504"/>
                <a:gd name="T101" fmla="*/ 1 h 13222"/>
                <a:gd name="T102" fmla="*/ 54 w 7504"/>
                <a:gd name="T103" fmla="*/ 0 h 13222"/>
                <a:gd name="T104" fmla="*/ 60 w 7504"/>
                <a:gd name="T105" fmla="*/ 0 h 13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7504" h="13222">
                  <a:moveTo>
                    <a:pt x="60" y="0"/>
                  </a:moveTo>
                  <a:lnTo>
                    <a:pt x="7444" y="0"/>
                  </a:lnTo>
                  <a:lnTo>
                    <a:pt x="7451" y="0"/>
                  </a:lnTo>
                  <a:lnTo>
                    <a:pt x="7457" y="1"/>
                  </a:lnTo>
                  <a:lnTo>
                    <a:pt x="7462" y="2"/>
                  </a:lnTo>
                  <a:lnTo>
                    <a:pt x="7468" y="5"/>
                  </a:lnTo>
                  <a:lnTo>
                    <a:pt x="7478" y="10"/>
                  </a:lnTo>
                  <a:lnTo>
                    <a:pt x="7486" y="17"/>
                  </a:lnTo>
                  <a:lnTo>
                    <a:pt x="7494" y="26"/>
                  </a:lnTo>
                  <a:lnTo>
                    <a:pt x="7500" y="36"/>
                  </a:lnTo>
                  <a:lnTo>
                    <a:pt x="7501" y="42"/>
                  </a:lnTo>
                  <a:lnTo>
                    <a:pt x="7503" y="48"/>
                  </a:lnTo>
                  <a:lnTo>
                    <a:pt x="7504" y="54"/>
                  </a:lnTo>
                  <a:lnTo>
                    <a:pt x="7504" y="59"/>
                  </a:lnTo>
                  <a:lnTo>
                    <a:pt x="7504" y="13161"/>
                  </a:lnTo>
                  <a:lnTo>
                    <a:pt x="7504" y="13167"/>
                  </a:lnTo>
                  <a:lnTo>
                    <a:pt x="7503" y="13174"/>
                  </a:lnTo>
                  <a:lnTo>
                    <a:pt x="7501" y="13179"/>
                  </a:lnTo>
                  <a:lnTo>
                    <a:pt x="7500" y="13185"/>
                  </a:lnTo>
                  <a:lnTo>
                    <a:pt x="7494" y="13195"/>
                  </a:lnTo>
                  <a:lnTo>
                    <a:pt x="7486" y="13203"/>
                  </a:lnTo>
                  <a:lnTo>
                    <a:pt x="7478" y="13211"/>
                  </a:lnTo>
                  <a:lnTo>
                    <a:pt x="7468" y="13217"/>
                  </a:lnTo>
                  <a:lnTo>
                    <a:pt x="7462" y="13218"/>
                  </a:lnTo>
                  <a:lnTo>
                    <a:pt x="7457" y="13221"/>
                  </a:lnTo>
                  <a:lnTo>
                    <a:pt x="7451" y="13222"/>
                  </a:lnTo>
                  <a:lnTo>
                    <a:pt x="7444" y="13222"/>
                  </a:lnTo>
                  <a:lnTo>
                    <a:pt x="60" y="13222"/>
                  </a:lnTo>
                  <a:lnTo>
                    <a:pt x="54" y="13222"/>
                  </a:lnTo>
                  <a:lnTo>
                    <a:pt x="48" y="13221"/>
                  </a:lnTo>
                  <a:lnTo>
                    <a:pt x="43" y="13218"/>
                  </a:lnTo>
                  <a:lnTo>
                    <a:pt x="37" y="13217"/>
                  </a:lnTo>
                  <a:lnTo>
                    <a:pt x="27" y="13211"/>
                  </a:lnTo>
                  <a:lnTo>
                    <a:pt x="18" y="13203"/>
                  </a:lnTo>
                  <a:lnTo>
                    <a:pt x="11" y="13195"/>
                  </a:lnTo>
                  <a:lnTo>
                    <a:pt x="5" y="13185"/>
                  </a:lnTo>
                  <a:lnTo>
                    <a:pt x="3" y="13179"/>
                  </a:lnTo>
                  <a:lnTo>
                    <a:pt x="2" y="13174"/>
                  </a:lnTo>
                  <a:lnTo>
                    <a:pt x="0" y="13167"/>
                  </a:lnTo>
                  <a:lnTo>
                    <a:pt x="0" y="13161"/>
                  </a:lnTo>
                  <a:lnTo>
                    <a:pt x="0" y="59"/>
                  </a:lnTo>
                  <a:lnTo>
                    <a:pt x="0" y="54"/>
                  </a:lnTo>
                  <a:lnTo>
                    <a:pt x="2" y="48"/>
                  </a:lnTo>
                  <a:lnTo>
                    <a:pt x="3" y="42"/>
                  </a:lnTo>
                  <a:lnTo>
                    <a:pt x="5" y="36"/>
                  </a:lnTo>
                  <a:lnTo>
                    <a:pt x="11" y="26"/>
                  </a:lnTo>
                  <a:lnTo>
                    <a:pt x="18" y="17"/>
                  </a:lnTo>
                  <a:lnTo>
                    <a:pt x="27" y="10"/>
                  </a:lnTo>
                  <a:lnTo>
                    <a:pt x="37" y="5"/>
                  </a:lnTo>
                  <a:lnTo>
                    <a:pt x="43" y="2"/>
                  </a:lnTo>
                  <a:lnTo>
                    <a:pt x="48" y="1"/>
                  </a:lnTo>
                  <a:lnTo>
                    <a:pt x="54" y="0"/>
                  </a:lnTo>
                  <a:lnTo>
                    <a:pt x="60" y="0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4590048" y="2460050"/>
              <a:ext cx="1837330" cy="120877"/>
              <a:chOff x="2252642" y="846142"/>
              <a:chExt cx="1930382" cy="127001"/>
            </a:xfrm>
          </p:grpSpPr>
          <p:sp>
            <p:nvSpPr>
              <p:cNvPr id="33" name="Rectangle 20"/>
              <p:cNvSpPr>
                <a:spLocks noChangeArrowheads="1"/>
              </p:cNvSpPr>
              <p:nvPr/>
            </p:nvSpPr>
            <p:spPr bwMode="auto">
              <a:xfrm>
                <a:off x="2252642" y="846142"/>
                <a:ext cx="1930382" cy="127001"/>
              </a:xfrm>
              <a:prstGeom prst="rect">
                <a:avLst/>
              </a:prstGeom>
              <a:gradFill>
                <a:gsLst>
                  <a:gs pos="100000">
                    <a:schemeClr val="tx1">
                      <a:lumMod val="65000"/>
                      <a:lumOff val="35000"/>
                    </a:schemeClr>
                  </a:gs>
                  <a:gs pos="0">
                    <a:schemeClr val="bg1">
                      <a:lumMod val="5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4" name="Rectangle 21"/>
              <p:cNvSpPr>
                <a:spLocks noChangeArrowheads="1"/>
              </p:cNvSpPr>
              <p:nvPr/>
            </p:nvSpPr>
            <p:spPr bwMode="auto">
              <a:xfrm>
                <a:off x="2278042" y="912817"/>
                <a:ext cx="19050" cy="25400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5" name="Rectangle 22"/>
              <p:cNvSpPr>
                <a:spLocks noChangeArrowheads="1"/>
              </p:cNvSpPr>
              <p:nvPr/>
            </p:nvSpPr>
            <p:spPr bwMode="auto">
              <a:xfrm>
                <a:off x="2301854" y="908054"/>
                <a:ext cx="19050" cy="30164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6" name="Rectangle 23"/>
              <p:cNvSpPr>
                <a:spLocks noChangeArrowheads="1"/>
              </p:cNvSpPr>
              <p:nvPr/>
            </p:nvSpPr>
            <p:spPr bwMode="auto">
              <a:xfrm>
                <a:off x="2327254" y="898529"/>
                <a:ext cx="17463" cy="39688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7" name="Rectangle 24"/>
              <p:cNvSpPr>
                <a:spLocks noChangeArrowheads="1"/>
              </p:cNvSpPr>
              <p:nvPr/>
            </p:nvSpPr>
            <p:spPr bwMode="auto">
              <a:xfrm>
                <a:off x="2351066" y="890592"/>
                <a:ext cx="17463" cy="4762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8" name="Rectangle 25"/>
              <p:cNvSpPr>
                <a:spLocks noChangeArrowheads="1"/>
              </p:cNvSpPr>
              <p:nvPr/>
            </p:nvSpPr>
            <p:spPr bwMode="auto">
              <a:xfrm>
                <a:off x="2374878" y="877891"/>
                <a:ext cx="17463" cy="6032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9" name="Freeform 38"/>
              <p:cNvSpPr>
                <a:spLocks/>
              </p:cNvSpPr>
              <p:nvPr/>
            </p:nvSpPr>
            <p:spPr bwMode="auto">
              <a:xfrm>
                <a:off x="2432028" y="873129"/>
                <a:ext cx="96837" cy="34925"/>
              </a:xfrm>
              <a:custGeom>
                <a:avLst/>
                <a:gdLst>
                  <a:gd name="T0" fmla="*/ 195 w 362"/>
                  <a:gd name="T1" fmla="*/ 0 h 133"/>
                  <a:gd name="T2" fmla="*/ 222 w 362"/>
                  <a:gd name="T3" fmla="*/ 3 h 133"/>
                  <a:gd name="T4" fmla="*/ 248 w 362"/>
                  <a:gd name="T5" fmla="*/ 10 h 133"/>
                  <a:gd name="T6" fmla="*/ 274 w 362"/>
                  <a:gd name="T7" fmla="*/ 19 h 133"/>
                  <a:gd name="T8" fmla="*/ 296 w 362"/>
                  <a:gd name="T9" fmla="*/ 31 h 133"/>
                  <a:gd name="T10" fmla="*/ 318 w 362"/>
                  <a:gd name="T11" fmla="*/ 46 h 133"/>
                  <a:gd name="T12" fmla="*/ 337 w 362"/>
                  <a:gd name="T13" fmla="*/ 63 h 133"/>
                  <a:gd name="T14" fmla="*/ 356 w 362"/>
                  <a:gd name="T15" fmla="*/ 83 h 133"/>
                  <a:gd name="T16" fmla="*/ 321 w 362"/>
                  <a:gd name="T17" fmla="*/ 133 h 133"/>
                  <a:gd name="T18" fmla="*/ 309 w 362"/>
                  <a:gd name="T19" fmla="*/ 116 h 133"/>
                  <a:gd name="T20" fmla="*/ 295 w 362"/>
                  <a:gd name="T21" fmla="*/ 101 h 133"/>
                  <a:gd name="T22" fmla="*/ 279 w 362"/>
                  <a:gd name="T23" fmla="*/ 87 h 133"/>
                  <a:gd name="T24" fmla="*/ 262 w 362"/>
                  <a:gd name="T25" fmla="*/ 77 h 133"/>
                  <a:gd name="T26" fmla="*/ 244 w 362"/>
                  <a:gd name="T27" fmla="*/ 68 h 133"/>
                  <a:gd name="T28" fmla="*/ 223 w 362"/>
                  <a:gd name="T29" fmla="*/ 61 h 133"/>
                  <a:gd name="T30" fmla="*/ 203 w 362"/>
                  <a:gd name="T31" fmla="*/ 57 h 133"/>
                  <a:gd name="T32" fmla="*/ 181 w 362"/>
                  <a:gd name="T33" fmla="*/ 55 h 133"/>
                  <a:gd name="T34" fmla="*/ 159 w 362"/>
                  <a:gd name="T35" fmla="*/ 57 h 133"/>
                  <a:gd name="T36" fmla="*/ 139 w 362"/>
                  <a:gd name="T37" fmla="*/ 61 h 133"/>
                  <a:gd name="T38" fmla="*/ 118 w 362"/>
                  <a:gd name="T39" fmla="*/ 68 h 133"/>
                  <a:gd name="T40" fmla="*/ 100 w 362"/>
                  <a:gd name="T41" fmla="*/ 77 h 133"/>
                  <a:gd name="T42" fmla="*/ 83 w 362"/>
                  <a:gd name="T43" fmla="*/ 87 h 133"/>
                  <a:gd name="T44" fmla="*/ 67 w 362"/>
                  <a:gd name="T45" fmla="*/ 101 h 133"/>
                  <a:gd name="T46" fmla="*/ 53 w 362"/>
                  <a:gd name="T47" fmla="*/ 116 h 133"/>
                  <a:gd name="T48" fmla="*/ 41 w 362"/>
                  <a:gd name="T49" fmla="*/ 133 h 133"/>
                  <a:gd name="T50" fmla="*/ 7 w 362"/>
                  <a:gd name="T51" fmla="*/ 83 h 133"/>
                  <a:gd name="T52" fmla="*/ 25 w 362"/>
                  <a:gd name="T53" fmla="*/ 63 h 133"/>
                  <a:gd name="T54" fmla="*/ 44 w 362"/>
                  <a:gd name="T55" fmla="*/ 46 h 133"/>
                  <a:gd name="T56" fmla="*/ 66 w 362"/>
                  <a:gd name="T57" fmla="*/ 31 h 133"/>
                  <a:gd name="T58" fmla="*/ 89 w 362"/>
                  <a:gd name="T59" fmla="*/ 19 h 133"/>
                  <a:gd name="T60" fmla="*/ 114 w 362"/>
                  <a:gd name="T61" fmla="*/ 10 h 133"/>
                  <a:gd name="T62" fmla="*/ 140 w 362"/>
                  <a:gd name="T63" fmla="*/ 3 h 133"/>
                  <a:gd name="T64" fmla="*/ 167 w 362"/>
                  <a:gd name="T65" fmla="*/ 0 h 1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62" h="133">
                    <a:moveTo>
                      <a:pt x="181" y="0"/>
                    </a:moveTo>
                    <a:lnTo>
                      <a:pt x="195" y="0"/>
                    </a:lnTo>
                    <a:lnTo>
                      <a:pt x="208" y="1"/>
                    </a:lnTo>
                    <a:lnTo>
                      <a:pt x="222" y="3"/>
                    </a:lnTo>
                    <a:lnTo>
                      <a:pt x="236" y="5"/>
                    </a:lnTo>
                    <a:lnTo>
                      <a:pt x="248" y="10"/>
                    </a:lnTo>
                    <a:lnTo>
                      <a:pt x="261" y="14"/>
                    </a:lnTo>
                    <a:lnTo>
                      <a:pt x="274" y="19"/>
                    </a:lnTo>
                    <a:lnTo>
                      <a:pt x="285" y="25"/>
                    </a:lnTo>
                    <a:lnTo>
                      <a:pt x="296" y="31"/>
                    </a:lnTo>
                    <a:lnTo>
                      <a:pt x="308" y="38"/>
                    </a:lnTo>
                    <a:lnTo>
                      <a:pt x="318" y="46"/>
                    </a:lnTo>
                    <a:lnTo>
                      <a:pt x="328" y="54"/>
                    </a:lnTo>
                    <a:lnTo>
                      <a:pt x="337" y="63"/>
                    </a:lnTo>
                    <a:lnTo>
                      <a:pt x="346" y="73"/>
                    </a:lnTo>
                    <a:lnTo>
                      <a:pt x="356" y="83"/>
                    </a:lnTo>
                    <a:lnTo>
                      <a:pt x="362" y="93"/>
                    </a:lnTo>
                    <a:lnTo>
                      <a:pt x="321" y="133"/>
                    </a:lnTo>
                    <a:lnTo>
                      <a:pt x="316" y="124"/>
                    </a:lnTo>
                    <a:lnTo>
                      <a:pt x="309" y="116"/>
                    </a:lnTo>
                    <a:lnTo>
                      <a:pt x="302" y="108"/>
                    </a:lnTo>
                    <a:lnTo>
                      <a:pt x="295" y="101"/>
                    </a:lnTo>
                    <a:lnTo>
                      <a:pt x="287" y="94"/>
                    </a:lnTo>
                    <a:lnTo>
                      <a:pt x="279" y="87"/>
                    </a:lnTo>
                    <a:lnTo>
                      <a:pt x="271" y="82"/>
                    </a:lnTo>
                    <a:lnTo>
                      <a:pt x="262" y="77"/>
                    </a:lnTo>
                    <a:lnTo>
                      <a:pt x="253" y="71"/>
                    </a:lnTo>
                    <a:lnTo>
                      <a:pt x="244" y="68"/>
                    </a:lnTo>
                    <a:lnTo>
                      <a:pt x="234" y="65"/>
                    </a:lnTo>
                    <a:lnTo>
                      <a:pt x="223" y="61"/>
                    </a:lnTo>
                    <a:lnTo>
                      <a:pt x="213" y="59"/>
                    </a:lnTo>
                    <a:lnTo>
                      <a:pt x="203" y="57"/>
                    </a:lnTo>
                    <a:lnTo>
                      <a:pt x="193" y="55"/>
                    </a:lnTo>
                    <a:lnTo>
                      <a:pt x="181" y="55"/>
                    </a:lnTo>
                    <a:lnTo>
                      <a:pt x="170" y="55"/>
                    </a:lnTo>
                    <a:lnTo>
                      <a:pt x="159" y="57"/>
                    </a:lnTo>
                    <a:lnTo>
                      <a:pt x="149" y="59"/>
                    </a:lnTo>
                    <a:lnTo>
                      <a:pt x="139" y="61"/>
                    </a:lnTo>
                    <a:lnTo>
                      <a:pt x="129" y="65"/>
                    </a:lnTo>
                    <a:lnTo>
                      <a:pt x="118" y="68"/>
                    </a:lnTo>
                    <a:lnTo>
                      <a:pt x="109" y="71"/>
                    </a:lnTo>
                    <a:lnTo>
                      <a:pt x="100" y="77"/>
                    </a:lnTo>
                    <a:lnTo>
                      <a:pt x="91" y="82"/>
                    </a:lnTo>
                    <a:lnTo>
                      <a:pt x="83" y="87"/>
                    </a:lnTo>
                    <a:lnTo>
                      <a:pt x="75" y="94"/>
                    </a:lnTo>
                    <a:lnTo>
                      <a:pt x="67" y="101"/>
                    </a:lnTo>
                    <a:lnTo>
                      <a:pt x="60" y="108"/>
                    </a:lnTo>
                    <a:lnTo>
                      <a:pt x="53" y="116"/>
                    </a:lnTo>
                    <a:lnTo>
                      <a:pt x="47" y="124"/>
                    </a:lnTo>
                    <a:lnTo>
                      <a:pt x="41" y="133"/>
                    </a:lnTo>
                    <a:lnTo>
                      <a:pt x="0" y="93"/>
                    </a:lnTo>
                    <a:lnTo>
                      <a:pt x="7" y="83"/>
                    </a:lnTo>
                    <a:lnTo>
                      <a:pt x="16" y="73"/>
                    </a:lnTo>
                    <a:lnTo>
                      <a:pt x="25" y="63"/>
                    </a:lnTo>
                    <a:lnTo>
                      <a:pt x="34" y="54"/>
                    </a:lnTo>
                    <a:lnTo>
                      <a:pt x="44" y="46"/>
                    </a:lnTo>
                    <a:lnTo>
                      <a:pt x="55" y="38"/>
                    </a:lnTo>
                    <a:lnTo>
                      <a:pt x="66" y="31"/>
                    </a:lnTo>
                    <a:lnTo>
                      <a:pt x="77" y="25"/>
                    </a:lnTo>
                    <a:lnTo>
                      <a:pt x="89" y="19"/>
                    </a:lnTo>
                    <a:lnTo>
                      <a:pt x="101" y="14"/>
                    </a:lnTo>
                    <a:lnTo>
                      <a:pt x="114" y="10"/>
                    </a:lnTo>
                    <a:lnTo>
                      <a:pt x="126" y="5"/>
                    </a:lnTo>
                    <a:lnTo>
                      <a:pt x="140" y="3"/>
                    </a:lnTo>
                    <a:lnTo>
                      <a:pt x="154" y="1"/>
                    </a:lnTo>
                    <a:lnTo>
                      <a:pt x="167" y="0"/>
                    </a:lnTo>
                    <a:lnTo>
                      <a:pt x="181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0" name="Freeform 39"/>
              <p:cNvSpPr>
                <a:spLocks/>
              </p:cNvSpPr>
              <p:nvPr/>
            </p:nvSpPr>
            <p:spPr bwMode="auto">
              <a:xfrm>
                <a:off x="2449489" y="896942"/>
                <a:ext cx="61912" cy="28576"/>
              </a:xfrm>
              <a:custGeom>
                <a:avLst/>
                <a:gdLst>
                  <a:gd name="T0" fmla="*/ 117 w 235"/>
                  <a:gd name="T1" fmla="*/ 0 h 111"/>
                  <a:gd name="T2" fmla="*/ 126 w 235"/>
                  <a:gd name="T3" fmla="*/ 1 h 111"/>
                  <a:gd name="T4" fmla="*/ 135 w 235"/>
                  <a:gd name="T5" fmla="*/ 2 h 111"/>
                  <a:gd name="T6" fmla="*/ 144 w 235"/>
                  <a:gd name="T7" fmla="*/ 3 h 111"/>
                  <a:gd name="T8" fmla="*/ 154 w 235"/>
                  <a:gd name="T9" fmla="*/ 6 h 111"/>
                  <a:gd name="T10" fmla="*/ 162 w 235"/>
                  <a:gd name="T11" fmla="*/ 8 h 111"/>
                  <a:gd name="T12" fmla="*/ 171 w 235"/>
                  <a:gd name="T13" fmla="*/ 11 h 111"/>
                  <a:gd name="T14" fmla="*/ 179 w 235"/>
                  <a:gd name="T15" fmla="*/ 15 h 111"/>
                  <a:gd name="T16" fmla="*/ 186 w 235"/>
                  <a:gd name="T17" fmla="*/ 19 h 111"/>
                  <a:gd name="T18" fmla="*/ 200 w 235"/>
                  <a:gd name="T19" fmla="*/ 30 h 111"/>
                  <a:gd name="T20" fmla="*/ 214 w 235"/>
                  <a:gd name="T21" fmla="*/ 41 h 111"/>
                  <a:gd name="T22" fmla="*/ 225 w 235"/>
                  <a:gd name="T23" fmla="*/ 54 h 111"/>
                  <a:gd name="T24" fmla="*/ 235 w 235"/>
                  <a:gd name="T25" fmla="*/ 68 h 111"/>
                  <a:gd name="T26" fmla="*/ 190 w 235"/>
                  <a:gd name="T27" fmla="*/ 111 h 111"/>
                  <a:gd name="T28" fmla="*/ 186 w 235"/>
                  <a:gd name="T29" fmla="*/ 99 h 111"/>
                  <a:gd name="T30" fmla="*/ 179 w 235"/>
                  <a:gd name="T31" fmla="*/ 90 h 111"/>
                  <a:gd name="T32" fmla="*/ 172 w 235"/>
                  <a:gd name="T33" fmla="*/ 81 h 111"/>
                  <a:gd name="T34" fmla="*/ 163 w 235"/>
                  <a:gd name="T35" fmla="*/ 73 h 111"/>
                  <a:gd name="T36" fmla="*/ 152 w 235"/>
                  <a:gd name="T37" fmla="*/ 67 h 111"/>
                  <a:gd name="T38" fmla="*/ 141 w 235"/>
                  <a:gd name="T39" fmla="*/ 63 h 111"/>
                  <a:gd name="T40" fmla="*/ 130 w 235"/>
                  <a:gd name="T41" fmla="*/ 59 h 111"/>
                  <a:gd name="T42" fmla="*/ 117 w 235"/>
                  <a:gd name="T43" fmla="*/ 59 h 111"/>
                  <a:gd name="T44" fmla="*/ 105 w 235"/>
                  <a:gd name="T45" fmla="*/ 59 h 111"/>
                  <a:gd name="T46" fmla="*/ 93 w 235"/>
                  <a:gd name="T47" fmla="*/ 63 h 111"/>
                  <a:gd name="T48" fmla="*/ 82 w 235"/>
                  <a:gd name="T49" fmla="*/ 67 h 111"/>
                  <a:gd name="T50" fmla="*/ 71 w 235"/>
                  <a:gd name="T51" fmla="*/ 73 h 111"/>
                  <a:gd name="T52" fmla="*/ 64 w 235"/>
                  <a:gd name="T53" fmla="*/ 81 h 111"/>
                  <a:gd name="T54" fmla="*/ 56 w 235"/>
                  <a:gd name="T55" fmla="*/ 90 h 111"/>
                  <a:gd name="T56" fmla="*/ 49 w 235"/>
                  <a:gd name="T57" fmla="*/ 99 h 111"/>
                  <a:gd name="T58" fmla="*/ 44 w 235"/>
                  <a:gd name="T59" fmla="*/ 111 h 111"/>
                  <a:gd name="T60" fmla="*/ 0 w 235"/>
                  <a:gd name="T61" fmla="*/ 68 h 111"/>
                  <a:gd name="T62" fmla="*/ 9 w 235"/>
                  <a:gd name="T63" fmla="*/ 54 h 111"/>
                  <a:gd name="T64" fmla="*/ 20 w 235"/>
                  <a:gd name="T65" fmla="*/ 41 h 111"/>
                  <a:gd name="T66" fmla="*/ 34 w 235"/>
                  <a:gd name="T67" fmla="*/ 30 h 111"/>
                  <a:gd name="T68" fmla="*/ 49 w 235"/>
                  <a:gd name="T69" fmla="*/ 19 h 111"/>
                  <a:gd name="T70" fmla="*/ 56 w 235"/>
                  <a:gd name="T71" fmla="*/ 15 h 111"/>
                  <a:gd name="T72" fmla="*/ 64 w 235"/>
                  <a:gd name="T73" fmla="*/ 11 h 111"/>
                  <a:gd name="T74" fmla="*/ 73 w 235"/>
                  <a:gd name="T75" fmla="*/ 8 h 111"/>
                  <a:gd name="T76" fmla="*/ 81 w 235"/>
                  <a:gd name="T77" fmla="*/ 6 h 111"/>
                  <a:gd name="T78" fmla="*/ 90 w 235"/>
                  <a:gd name="T79" fmla="*/ 3 h 111"/>
                  <a:gd name="T80" fmla="*/ 99 w 235"/>
                  <a:gd name="T81" fmla="*/ 2 h 111"/>
                  <a:gd name="T82" fmla="*/ 108 w 235"/>
                  <a:gd name="T83" fmla="*/ 1 h 111"/>
                  <a:gd name="T84" fmla="*/ 117 w 235"/>
                  <a:gd name="T85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35" h="111">
                    <a:moveTo>
                      <a:pt x="117" y="0"/>
                    </a:moveTo>
                    <a:lnTo>
                      <a:pt x="126" y="1"/>
                    </a:lnTo>
                    <a:lnTo>
                      <a:pt x="135" y="2"/>
                    </a:lnTo>
                    <a:lnTo>
                      <a:pt x="144" y="3"/>
                    </a:lnTo>
                    <a:lnTo>
                      <a:pt x="154" y="6"/>
                    </a:lnTo>
                    <a:lnTo>
                      <a:pt x="162" y="8"/>
                    </a:lnTo>
                    <a:lnTo>
                      <a:pt x="171" y="11"/>
                    </a:lnTo>
                    <a:lnTo>
                      <a:pt x="179" y="15"/>
                    </a:lnTo>
                    <a:lnTo>
                      <a:pt x="186" y="19"/>
                    </a:lnTo>
                    <a:lnTo>
                      <a:pt x="200" y="30"/>
                    </a:lnTo>
                    <a:lnTo>
                      <a:pt x="214" y="41"/>
                    </a:lnTo>
                    <a:lnTo>
                      <a:pt x="225" y="54"/>
                    </a:lnTo>
                    <a:lnTo>
                      <a:pt x="235" y="68"/>
                    </a:lnTo>
                    <a:lnTo>
                      <a:pt x="190" y="111"/>
                    </a:lnTo>
                    <a:lnTo>
                      <a:pt x="186" y="99"/>
                    </a:lnTo>
                    <a:lnTo>
                      <a:pt x="179" y="90"/>
                    </a:lnTo>
                    <a:lnTo>
                      <a:pt x="172" y="81"/>
                    </a:lnTo>
                    <a:lnTo>
                      <a:pt x="163" y="73"/>
                    </a:lnTo>
                    <a:lnTo>
                      <a:pt x="152" y="67"/>
                    </a:lnTo>
                    <a:lnTo>
                      <a:pt x="141" y="63"/>
                    </a:lnTo>
                    <a:lnTo>
                      <a:pt x="130" y="59"/>
                    </a:lnTo>
                    <a:lnTo>
                      <a:pt x="117" y="59"/>
                    </a:lnTo>
                    <a:lnTo>
                      <a:pt x="105" y="59"/>
                    </a:lnTo>
                    <a:lnTo>
                      <a:pt x="93" y="63"/>
                    </a:lnTo>
                    <a:lnTo>
                      <a:pt x="82" y="67"/>
                    </a:lnTo>
                    <a:lnTo>
                      <a:pt x="71" y="73"/>
                    </a:lnTo>
                    <a:lnTo>
                      <a:pt x="64" y="81"/>
                    </a:lnTo>
                    <a:lnTo>
                      <a:pt x="56" y="90"/>
                    </a:lnTo>
                    <a:lnTo>
                      <a:pt x="49" y="99"/>
                    </a:lnTo>
                    <a:lnTo>
                      <a:pt x="44" y="111"/>
                    </a:lnTo>
                    <a:lnTo>
                      <a:pt x="0" y="68"/>
                    </a:lnTo>
                    <a:lnTo>
                      <a:pt x="9" y="54"/>
                    </a:lnTo>
                    <a:lnTo>
                      <a:pt x="20" y="41"/>
                    </a:lnTo>
                    <a:lnTo>
                      <a:pt x="34" y="30"/>
                    </a:lnTo>
                    <a:lnTo>
                      <a:pt x="49" y="19"/>
                    </a:lnTo>
                    <a:lnTo>
                      <a:pt x="56" y="15"/>
                    </a:lnTo>
                    <a:lnTo>
                      <a:pt x="64" y="11"/>
                    </a:lnTo>
                    <a:lnTo>
                      <a:pt x="73" y="8"/>
                    </a:lnTo>
                    <a:lnTo>
                      <a:pt x="81" y="6"/>
                    </a:lnTo>
                    <a:lnTo>
                      <a:pt x="90" y="3"/>
                    </a:lnTo>
                    <a:lnTo>
                      <a:pt x="99" y="2"/>
                    </a:lnTo>
                    <a:lnTo>
                      <a:pt x="108" y="1"/>
                    </a:lnTo>
                    <a:lnTo>
                      <a:pt x="11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1" name="Freeform 40"/>
              <p:cNvSpPr>
                <a:spLocks/>
              </p:cNvSpPr>
              <p:nvPr/>
            </p:nvSpPr>
            <p:spPr bwMode="auto">
              <a:xfrm>
                <a:off x="2468539" y="920755"/>
                <a:ext cx="23813" cy="22225"/>
              </a:xfrm>
              <a:custGeom>
                <a:avLst/>
                <a:gdLst>
                  <a:gd name="T0" fmla="*/ 42 w 84"/>
                  <a:gd name="T1" fmla="*/ 0 h 84"/>
                  <a:gd name="T2" fmla="*/ 51 w 84"/>
                  <a:gd name="T3" fmla="*/ 0 h 84"/>
                  <a:gd name="T4" fmla="*/ 59 w 84"/>
                  <a:gd name="T5" fmla="*/ 2 h 84"/>
                  <a:gd name="T6" fmla="*/ 66 w 84"/>
                  <a:gd name="T7" fmla="*/ 7 h 84"/>
                  <a:gd name="T8" fmla="*/ 72 w 84"/>
                  <a:gd name="T9" fmla="*/ 11 h 84"/>
                  <a:gd name="T10" fmla="*/ 77 w 84"/>
                  <a:gd name="T11" fmla="*/ 18 h 84"/>
                  <a:gd name="T12" fmla="*/ 81 w 84"/>
                  <a:gd name="T13" fmla="*/ 25 h 84"/>
                  <a:gd name="T14" fmla="*/ 83 w 84"/>
                  <a:gd name="T15" fmla="*/ 33 h 84"/>
                  <a:gd name="T16" fmla="*/ 84 w 84"/>
                  <a:gd name="T17" fmla="*/ 42 h 84"/>
                  <a:gd name="T18" fmla="*/ 84 w 84"/>
                  <a:gd name="T19" fmla="*/ 43 h 84"/>
                  <a:gd name="T20" fmla="*/ 84 w 84"/>
                  <a:gd name="T21" fmla="*/ 44 h 84"/>
                  <a:gd name="T22" fmla="*/ 42 w 84"/>
                  <a:gd name="T23" fmla="*/ 84 h 84"/>
                  <a:gd name="T24" fmla="*/ 0 w 84"/>
                  <a:gd name="T25" fmla="*/ 44 h 84"/>
                  <a:gd name="T26" fmla="*/ 0 w 84"/>
                  <a:gd name="T27" fmla="*/ 43 h 84"/>
                  <a:gd name="T28" fmla="*/ 0 w 84"/>
                  <a:gd name="T29" fmla="*/ 42 h 84"/>
                  <a:gd name="T30" fmla="*/ 1 w 84"/>
                  <a:gd name="T31" fmla="*/ 33 h 84"/>
                  <a:gd name="T32" fmla="*/ 3 w 84"/>
                  <a:gd name="T33" fmla="*/ 25 h 84"/>
                  <a:gd name="T34" fmla="*/ 7 w 84"/>
                  <a:gd name="T35" fmla="*/ 18 h 84"/>
                  <a:gd name="T36" fmla="*/ 12 w 84"/>
                  <a:gd name="T37" fmla="*/ 11 h 84"/>
                  <a:gd name="T38" fmla="*/ 18 w 84"/>
                  <a:gd name="T39" fmla="*/ 7 h 84"/>
                  <a:gd name="T40" fmla="*/ 26 w 84"/>
                  <a:gd name="T41" fmla="*/ 2 h 84"/>
                  <a:gd name="T42" fmla="*/ 34 w 84"/>
                  <a:gd name="T43" fmla="*/ 0 h 84"/>
                  <a:gd name="T44" fmla="*/ 42 w 84"/>
                  <a:gd name="T45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84" h="84">
                    <a:moveTo>
                      <a:pt x="42" y="0"/>
                    </a:moveTo>
                    <a:lnTo>
                      <a:pt x="51" y="0"/>
                    </a:lnTo>
                    <a:lnTo>
                      <a:pt x="59" y="2"/>
                    </a:lnTo>
                    <a:lnTo>
                      <a:pt x="66" y="7"/>
                    </a:lnTo>
                    <a:lnTo>
                      <a:pt x="72" y="11"/>
                    </a:lnTo>
                    <a:lnTo>
                      <a:pt x="77" y="18"/>
                    </a:lnTo>
                    <a:lnTo>
                      <a:pt x="81" y="25"/>
                    </a:lnTo>
                    <a:lnTo>
                      <a:pt x="83" y="33"/>
                    </a:lnTo>
                    <a:lnTo>
                      <a:pt x="84" y="42"/>
                    </a:lnTo>
                    <a:lnTo>
                      <a:pt x="84" y="43"/>
                    </a:lnTo>
                    <a:lnTo>
                      <a:pt x="84" y="44"/>
                    </a:lnTo>
                    <a:lnTo>
                      <a:pt x="42" y="84"/>
                    </a:lnTo>
                    <a:lnTo>
                      <a:pt x="0" y="44"/>
                    </a:lnTo>
                    <a:lnTo>
                      <a:pt x="0" y="43"/>
                    </a:lnTo>
                    <a:lnTo>
                      <a:pt x="0" y="42"/>
                    </a:lnTo>
                    <a:lnTo>
                      <a:pt x="1" y="33"/>
                    </a:lnTo>
                    <a:lnTo>
                      <a:pt x="3" y="25"/>
                    </a:lnTo>
                    <a:lnTo>
                      <a:pt x="7" y="18"/>
                    </a:lnTo>
                    <a:lnTo>
                      <a:pt x="12" y="11"/>
                    </a:lnTo>
                    <a:lnTo>
                      <a:pt x="18" y="7"/>
                    </a:lnTo>
                    <a:lnTo>
                      <a:pt x="26" y="2"/>
                    </a:lnTo>
                    <a:lnTo>
                      <a:pt x="34" y="0"/>
                    </a:lnTo>
                    <a:lnTo>
                      <a:pt x="42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2" name="Freeform 41"/>
              <p:cNvSpPr>
                <a:spLocks noEditPoints="1"/>
              </p:cNvSpPr>
              <p:nvPr/>
            </p:nvSpPr>
            <p:spPr bwMode="auto">
              <a:xfrm>
                <a:off x="4035385" y="876304"/>
                <a:ext cx="130173" cy="61913"/>
              </a:xfrm>
              <a:custGeom>
                <a:avLst/>
                <a:gdLst>
                  <a:gd name="T0" fmla="*/ 418 w 492"/>
                  <a:gd name="T1" fmla="*/ 0 h 235"/>
                  <a:gd name="T2" fmla="*/ 430 w 492"/>
                  <a:gd name="T3" fmla="*/ 2 h 235"/>
                  <a:gd name="T4" fmla="*/ 440 w 492"/>
                  <a:gd name="T5" fmla="*/ 9 h 235"/>
                  <a:gd name="T6" fmla="*/ 446 w 492"/>
                  <a:gd name="T7" fmla="*/ 19 h 235"/>
                  <a:gd name="T8" fmla="*/ 448 w 492"/>
                  <a:gd name="T9" fmla="*/ 31 h 235"/>
                  <a:gd name="T10" fmla="*/ 470 w 492"/>
                  <a:gd name="T11" fmla="*/ 58 h 235"/>
                  <a:gd name="T12" fmla="*/ 479 w 492"/>
                  <a:gd name="T13" fmla="*/ 60 h 235"/>
                  <a:gd name="T14" fmla="*/ 487 w 492"/>
                  <a:gd name="T15" fmla="*/ 65 h 235"/>
                  <a:gd name="T16" fmla="*/ 491 w 492"/>
                  <a:gd name="T17" fmla="*/ 73 h 235"/>
                  <a:gd name="T18" fmla="*/ 492 w 492"/>
                  <a:gd name="T19" fmla="*/ 82 h 235"/>
                  <a:gd name="T20" fmla="*/ 492 w 492"/>
                  <a:gd name="T21" fmla="*/ 158 h 235"/>
                  <a:gd name="T22" fmla="*/ 489 w 492"/>
                  <a:gd name="T23" fmla="*/ 166 h 235"/>
                  <a:gd name="T24" fmla="*/ 483 w 492"/>
                  <a:gd name="T25" fmla="*/ 173 h 235"/>
                  <a:gd name="T26" fmla="*/ 474 w 492"/>
                  <a:gd name="T27" fmla="*/ 177 h 235"/>
                  <a:gd name="T28" fmla="*/ 448 w 492"/>
                  <a:gd name="T29" fmla="*/ 177 h 235"/>
                  <a:gd name="T30" fmla="*/ 448 w 492"/>
                  <a:gd name="T31" fmla="*/ 211 h 235"/>
                  <a:gd name="T32" fmla="*/ 443 w 492"/>
                  <a:gd name="T33" fmla="*/ 222 h 235"/>
                  <a:gd name="T34" fmla="*/ 435 w 492"/>
                  <a:gd name="T35" fmla="*/ 230 h 235"/>
                  <a:gd name="T36" fmla="*/ 424 w 492"/>
                  <a:gd name="T37" fmla="*/ 235 h 235"/>
                  <a:gd name="T38" fmla="*/ 29 w 492"/>
                  <a:gd name="T39" fmla="*/ 235 h 235"/>
                  <a:gd name="T40" fmla="*/ 18 w 492"/>
                  <a:gd name="T41" fmla="*/ 233 h 235"/>
                  <a:gd name="T42" fmla="*/ 9 w 492"/>
                  <a:gd name="T43" fmla="*/ 227 h 235"/>
                  <a:gd name="T44" fmla="*/ 2 w 492"/>
                  <a:gd name="T45" fmla="*/ 217 h 235"/>
                  <a:gd name="T46" fmla="*/ 0 w 492"/>
                  <a:gd name="T47" fmla="*/ 205 h 235"/>
                  <a:gd name="T48" fmla="*/ 1 w 492"/>
                  <a:gd name="T49" fmla="*/ 24 h 235"/>
                  <a:gd name="T50" fmla="*/ 5 w 492"/>
                  <a:gd name="T51" fmla="*/ 14 h 235"/>
                  <a:gd name="T52" fmla="*/ 13 w 492"/>
                  <a:gd name="T53" fmla="*/ 6 h 235"/>
                  <a:gd name="T54" fmla="*/ 24 w 492"/>
                  <a:gd name="T55" fmla="*/ 1 h 235"/>
                  <a:gd name="T56" fmla="*/ 448 w 492"/>
                  <a:gd name="T57" fmla="*/ 93 h 235"/>
                  <a:gd name="T58" fmla="*/ 457 w 492"/>
                  <a:gd name="T59" fmla="*/ 141 h 235"/>
                  <a:gd name="T60" fmla="*/ 448 w 492"/>
                  <a:gd name="T61" fmla="*/ 93 h 235"/>
                  <a:gd name="T62" fmla="*/ 35 w 492"/>
                  <a:gd name="T63" fmla="*/ 35 h 235"/>
                  <a:gd name="T64" fmla="*/ 413 w 492"/>
                  <a:gd name="T65" fmla="*/ 199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92" h="235">
                    <a:moveTo>
                      <a:pt x="29" y="0"/>
                    </a:moveTo>
                    <a:lnTo>
                      <a:pt x="418" y="0"/>
                    </a:lnTo>
                    <a:lnTo>
                      <a:pt x="424" y="1"/>
                    </a:lnTo>
                    <a:lnTo>
                      <a:pt x="430" y="2"/>
                    </a:lnTo>
                    <a:lnTo>
                      <a:pt x="435" y="6"/>
                    </a:lnTo>
                    <a:lnTo>
                      <a:pt x="440" y="9"/>
                    </a:lnTo>
                    <a:lnTo>
                      <a:pt x="443" y="14"/>
                    </a:lnTo>
                    <a:lnTo>
                      <a:pt x="446" y="19"/>
                    </a:lnTo>
                    <a:lnTo>
                      <a:pt x="448" y="24"/>
                    </a:lnTo>
                    <a:lnTo>
                      <a:pt x="448" y="31"/>
                    </a:lnTo>
                    <a:lnTo>
                      <a:pt x="448" y="58"/>
                    </a:lnTo>
                    <a:lnTo>
                      <a:pt x="470" y="58"/>
                    </a:lnTo>
                    <a:lnTo>
                      <a:pt x="474" y="59"/>
                    </a:lnTo>
                    <a:lnTo>
                      <a:pt x="479" y="60"/>
                    </a:lnTo>
                    <a:lnTo>
                      <a:pt x="483" y="63"/>
                    </a:lnTo>
                    <a:lnTo>
                      <a:pt x="487" y="65"/>
                    </a:lnTo>
                    <a:lnTo>
                      <a:pt x="489" y="68"/>
                    </a:lnTo>
                    <a:lnTo>
                      <a:pt x="491" y="73"/>
                    </a:lnTo>
                    <a:lnTo>
                      <a:pt x="492" y="76"/>
                    </a:lnTo>
                    <a:lnTo>
                      <a:pt x="492" y="82"/>
                    </a:lnTo>
                    <a:lnTo>
                      <a:pt x="492" y="154"/>
                    </a:lnTo>
                    <a:lnTo>
                      <a:pt x="492" y="158"/>
                    </a:lnTo>
                    <a:lnTo>
                      <a:pt x="491" y="163"/>
                    </a:lnTo>
                    <a:lnTo>
                      <a:pt x="489" y="166"/>
                    </a:lnTo>
                    <a:lnTo>
                      <a:pt x="487" y="170"/>
                    </a:lnTo>
                    <a:lnTo>
                      <a:pt x="483" y="173"/>
                    </a:lnTo>
                    <a:lnTo>
                      <a:pt x="479" y="176"/>
                    </a:lnTo>
                    <a:lnTo>
                      <a:pt x="474" y="177"/>
                    </a:lnTo>
                    <a:lnTo>
                      <a:pt x="470" y="177"/>
                    </a:lnTo>
                    <a:lnTo>
                      <a:pt x="448" y="177"/>
                    </a:lnTo>
                    <a:lnTo>
                      <a:pt x="448" y="205"/>
                    </a:lnTo>
                    <a:lnTo>
                      <a:pt x="448" y="211"/>
                    </a:lnTo>
                    <a:lnTo>
                      <a:pt x="446" y="217"/>
                    </a:lnTo>
                    <a:lnTo>
                      <a:pt x="443" y="222"/>
                    </a:lnTo>
                    <a:lnTo>
                      <a:pt x="440" y="227"/>
                    </a:lnTo>
                    <a:lnTo>
                      <a:pt x="435" y="230"/>
                    </a:lnTo>
                    <a:lnTo>
                      <a:pt x="430" y="233"/>
                    </a:lnTo>
                    <a:lnTo>
                      <a:pt x="424" y="235"/>
                    </a:lnTo>
                    <a:lnTo>
                      <a:pt x="418" y="235"/>
                    </a:lnTo>
                    <a:lnTo>
                      <a:pt x="29" y="235"/>
                    </a:lnTo>
                    <a:lnTo>
                      <a:pt x="24" y="235"/>
                    </a:lnTo>
                    <a:lnTo>
                      <a:pt x="18" y="233"/>
                    </a:lnTo>
                    <a:lnTo>
                      <a:pt x="13" y="230"/>
                    </a:lnTo>
                    <a:lnTo>
                      <a:pt x="9" y="227"/>
                    </a:lnTo>
                    <a:lnTo>
                      <a:pt x="5" y="222"/>
                    </a:lnTo>
                    <a:lnTo>
                      <a:pt x="2" y="217"/>
                    </a:lnTo>
                    <a:lnTo>
                      <a:pt x="1" y="211"/>
                    </a:lnTo>
                    <a:lnTo>
                      <a:pt x="0" y="205"/>
                    </a:lnTo>
                    <a:lnTo>
                      <a:pt x="0" y="31"/>
                    </a:lnTo>
                    <a:lnTo>
                      <a:pt x="1" y="24"/>
                    </a:lnTo>
                    <a:lnTo>
                      <a:pt x="2" y="19"/>
                    </a:lnTo>
                    <a:lnTo>
                      <a:pt x="5" y="14"/>
                    </a:lnTo>
                    <a:lnTo>
                      <a:pt x="9" y="9"/>
                    </a:lnTo>
                    <a:lnTo>
                      <a:pt x="13" y="6"/>
                    </a:lnTo>
                    <a:lnTo>
                      <a:pt x="18" y="2"/>
                    </a:lnTo>
                    <a:lnTo>
                      <a:pt x="24" y="1"/>
                    </a:lnTo>
                    <a:lnTo>
                      <a:pt x="29" y="0"/>
                    </a:lnTo>
                    <a:close/>
                    <a:moveTo>
                      <a:pt x="448" y="93"/>
                    </a:moveTo>
                    <a:lnTo>
                      <a:pt x="448" y="141"/>
                    </a:lnTo>
                    <a:lnTo>
                      <a:pt x="457" y="141"/>
                    </a:lnTo>
                    <a:lnTo>
                      <a:pt x="457" y="93"/>
                    </a:lnTo>
                    <a:lnTo>
                      <a:pt x="448" y="93"/>
                    </a:lnTo>
                    <a:close/>
                    <a:moveTo>
                      <a:pt x="413" y="35"/>
                    </a:moveTo>
                    <a:lnTo>
                      <a:pt x="35" y="35"/>
                    </a:lnTo>
                    <a:lnTo>
                      <a:pt x="35" y="199"/>
                    </a:lnTo>
                    <a:lnTo>
                      <a:pt x="413" y="199"/>
                    </a:lnTo>
                    <a:lnTo>
                      <a:pt x="413" y="35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3" name="Rectangle 42"/>
              <p:cNvSpPr>
                <a:spLocks noChangeArrowheads="1"/>
              </p:cNvSpPr>
              <p:nvPr/>
            </p:nvSpPr>
            <p:spPr bwMode="auto">
              <a:xfrm>
                <a:off x="4051266" y="890592"/>
                <a:ext cx="87312" cy="34925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44" name="Freeform 43"/>
              <p:cNvSpPr>
                <a:spLocks noEditPoints="1"/>
              </p:cNvSpPr>
              <p:nvPr/>
            </p:nvSpPr>
            <p:spPr bwMode="auto">
              <a:xfrm>
                <a:off x="3944937" y="862013"/>
                <a:ext cx="52388" cy="96838"/>
              </a:xfrm>
              <a:custGeom>
                <a:avLst/>
                <a:gdLst>
                  <a:gd name="T0" fmla="*/ 25 w 200"/>
                  <a:gd name="T1" fmla="*/ 73 h 367"/>
                  <a:gd name="T2" fmla="*/ 79 w 200"/>
                  <a:gd name="T3" fmla="*/ 127 h 367"/>
                  <a:gd name="T4" fmla="*/ 80 w 200"/>
                  <a:gd name="T5" fmla="*/ 0 h 367"/>
                  <a:gd name="T6" fmla="*/ 184 w 200"/>
                  <a:gd name="T7" fmla="*/ 102 h 367"/>
                  <a:gd name="T8" fmla="*/ 196 w 200"/>
                  <a:gd name="T9" fmla="*/ 114 h 367"/>
                  <a:gd name="T10" fmla="*/ 184 w 200"/>
                  <a:gd name="T11" fmla="*/ 127 h 367"/>
                  <a:gd name="T12" fmla="*/ 131 w 200"/>
                  <a:gd name="T13" fmla="*/ 179 h 367"/>
                  <a:gd name="T14" fmla="*/ 187 w 200"/>
                  <a:gd name="T15" fmla="*/ 235 h 367"/>
                  <a:gd name="T16" fmla="*/ 200 w 200"/>
                  <a:gd name="T17" fmla="*/ 246 h 367"/>
                  <a:gd name="T18" fmla="*/ 187 w 200"/>
                  <a:gd name="T19" fmla="*/ 259 h 367"/>
                  <a:gd name="T20" fmla="*/ 110 w 200"/>
                  <a:gd name="T21" fmla="*/ 338 h 367"/>
                  <a:gd name="T22" fmla="*/ 79 w 200"/>
                  <a:gd name="T23" fmla="*/ 367 h 367"/>
                  <a:gd name="T24" fmla="*/ 79 w 200"/>
                  <a:gd name="T25" fmla="*/ 325 h 367"/>
                  <a:gd name="T26" fmla="*/ 79 w 200"/>
                  <a:gd name="T27" fmla="*/ 232 h 367"/>
                  <a:gd name="T28" fmla="*/ 29 w 200"/>
                  <a:gd name="T29" fmla="*/ 283 h 367"/>
                  <a:gd name="T30" fmla="*/ 4 w 200"/>
                  <a:gd name="T31" fmla="*/ 258 h 367"/>
                  <a:gd name="T32" fmla="*/ 79 w 200"/>
                  <a:gd name="T33" fmla="*/ 182 h 367"/>
                  <a:gd name="T34" fmla="*/ 79 w 200"/>
                  <a:gd name="T35" fmla="*/ 177 h 367"/>
                  <a:gd name="T36" fmla="*/ 0 w 200"/>
                  <a:gd name="T37" fmla="*/ 98 h 367"/>
                  <a:gd name="T38" fmla="*/ 25 w 200"/>
                  <a:gd name="T39" fmla="*/ 73 h 367"/>
                  <a:gd name="T40" fmla="*/ 150 w 200"/>
                  <a:gd name="T41" fmla="*/ 246 h 367"/>
                  <a:gd name="T42" fmla="*/ 114 w 200"/>
                  <a:gd name="T43" fmla="*/ 212 h 367"/>
                  <a:gd name="T44" fmla="*/ 114 w 200"/>
                  <a:gd name="T45" fmla="*/ 282 h 367"/>
                  <a:gd name="T46" fmla="*/ 150 w 200"/>
                  <a:gd name="T47" fmla="*/ 246 h 367"/>
                  <a:gd name="T48" fmla="*/ 114 w 200"/>
                  <a:gd name="T49" fmla="*/ 82 h 367"/>
                  <a:gd name="T50" fmla="*/ 114 w 200"/>
                  <a:gd name="T51" fmla="*/ 146 h 367"/>
                  <a:gd name="T52" fmla="*/ 146 w 200"/>
                  <a:gd name="T53" fmla="*/ 114 h 367"/>
                  <a:gd name="T54" fmla="*/ 114 w 200"/>
                  <a:gd name="T55" fmla="*/ 82 h 3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200" h="367">
                    <a:moveTo>
                      <a:pt x="25" y="73"/>
                    </a:moveTo>
                    <a:lnTo>
                      <a:pt x="79" y="127"/>
                    </a:lnTo>
                    <a:lnTo>
                      <a:pt x="80" y="0"/>
                    </a:lnTo>
                    <a:lnTo>
                      <a:pt x="184" y="102"/>
                    </a:lnTo>
                    <a:lnTo>
                      <a:pt x="196" y="114"/>
                    </a:lnTo>
                    <a:lnTo>
                      <a:pt x="184" y="127"/>
                    </a:lnTo>
                    <a:lnTo>
                      <a:pt x="131" y="179"/>
                    </a:lnTo>
                    <a:lnTo>
                      <a:pt x="187" y="235"/>
                    </a:lnTo>
                    <a:lnTo>
                      <a:pt x="200" y="246"/>
                    </a:lnTo>
                    <a:lnTo>
                      <a:pt x="187" y="259"/>
                    </a:lnTo>
                    <a:lnTo>
                      <a:pt x="110" y="338"/>
                    </a:lnTo>
                    <a:lnTo>
                      <a:pt x="79" y="367"/>
                    </a:lnTo>
                    <a:lnTo>
                      <a:pt x="79" y="325"/>
                    </a:lnTo>
                    <a:lnTo>
                      <a:pt x="79" y="232"/>
                    </a:lnTo>
                    <a:lnTo>
                      <a:pt x="29" y="283"/>
                    </a:lnTo>
                    <a:lnTo>
                      <a:pt x="4" y="258"/>
                    </a:lnTo>
                    <a:lnTo>
                      <a:pt x="79" y="182"/>
                    </a:lnTo>
                    <a:lnTo>
                      <a:pt x="79" y="177"/>
                    </a:lnTo>
                    <a:lnTo>
                      <a:pt x="0" y="98"/>
                    </a:lnTo>
                    <a:lnTo>
                      <a:pt x="25" y="73"/>
                    </a:lnTo>
                    <a:close/>
                    <a:moveTo>
                      <a:pt x="150" y="246"/>
                    </a:moveTo>
                    <a:lnTo>
                      <a:pt x="114" y="212"/>
                    </a:lnTo>
                    <a:lnTo>
                      <a:pt x="114" y="282"/>
                    </a:lnTo>
                    <a:lnTo>
                      <a:pt x="150" y="246"/>
                    </a:lnTo>
                    <a:close/>
                    <a:moveTo>
                      <a:pt x="114" y="82"/>
                    </a:moveTo>
                    <a:lnTo>
                      <a:pt x="114" y="146"/>
                    </a:lnTo>
                    <a:lnTo>
                      <a:pt x="146" y="114"/>
                    </a:lnTo>
                    <a:lnTo>
                      <a:pt x="114" y="82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0" name="Group 19"/>
            <p:cNvGrpSpPr/>
            <p:nvPr/>
          </p:nvGrpSpPr>
          <p:grpSpPr>
            <a:xfrm>
              <a:off x="5349685" y="5896523"/>
              <a:ext cx="316545" cy="316544"/>
              <a:chOff x="5940539" y="5094371"/>
              <a:chExt cx="371944" cy="371944"/>
            </a:xfrm>
          </p:grpSpPr>
          <p:sp>
            <p:nvSpPr>
              <p:cNvPr id="29" name="Freeform 33"/>
              <p:cNvSpPr>
                <a:spLocks/>
              </p:cNvSpPr>
              <p:nvPr/>
            </p:nvSpPr>
            <p:spPr bwMode="auto">
              <a:xfrm>
                <a:off x="5940539" y="5094371"/>
                <a:ext cx="371944" cy="371944"/>
              </a:xfrm>
              <a:custGeom>
                <a:avLst/>
                <a:gdLst>
                  <a:gd name="T0" fmla="*/ 904 w 1639"/>
                  <a:gd name="T1" fmla="*/ 5 h 1638"/>
                  <a:gd name="T2" fmla="*/ 1025 w 1639"/>
                  <a:gd name="T3" fmla="*/ 27 h 1638"/>
                  <a:gd name="T4" fmla="*/ 1139 w 1639"/>
                  <a:gd name="T5" fmla="*/ 64 h 1638"/>
                  <a:gd name="T6" fmla="*/ 1245 w 1639"/>
                  <a:gd name="T7" fmla="*/ 119 h 1638"/>
                  <a:gd name="T8" fmla="*/ 1342 w 1639"/>
                  <a:gd name="T9" fmla="*/ 187 h 1638"/>
                  <a:gd name="T10" fmla="*/ 1427 w 1639"/>
                  <a:gd name="T11" fmla="*/ 268 h 1638"/>
                  <a:gd name="T12" fmla="*/ 1500 w 1639"/>
                  <a:gd name="T13" fmla="*/ 362 h 1638"/>
                  <a:gd name="T14" fmla="*/ 1560 w 1639"/>
                  <a:gd name="T15" fmla="*/ 464 h 1638"/>
                  <a:gd name="T16" fmla="*/ 1603 w 1639"/>
                  <a:gd name="T17" fmla="*/ 576 h 1638"/>
                  <a:gd name="T18" fmla="*/ 1630 w 1639"/>
                  <a:gd name="T19" fmla="*/ 695 h 1638"/>
                  <a:gd name="T20" fmla="*/ 1639 w 1639"/>
                  <a:gd name="T21" fmla="*/ 820 h 1638"/>
                  <a:gd name="T22" fmla="*/ 1630 w 1639"/>
                  <a:gd name="T23" fmla="*/ 944 h 1638"/>
                  <a:gd name="T24" fmla="*/ 1603 w 1639"/>
                  <a:gd name="T25" fmla="*/ 1063 h 1638"/>
                  <a:gd name="T26" fmla="*/ 1560 w 1639"/>
                  <a:gd name="T27" fmla="*/ 1174 h 1638"/>
                  <a:gd name="T28" fmla="*/ 1500 w 1639"/>
                  <a:gd name="T29" fmla="*/ 1278 h 1638"/>
                  <a:gd name="T30" fmla="*/ 1427 w 1639"/>
                  <a:gd name="T31" fmla="*/ 1371 h 1638"/>
                  <a:gd name="T32" fmla="*/ 1342 w 1639"/>
                  <a:gd name="T33" fmla="*/ 1452 h 1638"/>
                  <a:gd name="T34" fmla="*/ 1245 w 1639"/>
                  <a:gd name="T35" fmla="*/ 1520 h 1638"/>
                  <a:gd name="T36" fmla="*/ 1139 w 1639"/>
                  <a:gd name="T37" fmla="*/ 1575 h 1638"/>
                  <a:gd name="T38" fmla="*/ 1025 w 1639"/>
                  <a:gd name="T39" fmla="*/ 1613 h 1638"/>
                  <a:gd name="T40" fmla="*/ 904 w 1639"/>
                  <a:gd name="T41" fmla="*/ 1635 h 1638"/>
                  <a:gd name="T42" fmla="*/ 778 w 1639"/>
                  <a:gd name="T43" fmla="*/ 1637 h 1638"/>
                  <a:gd name="T44" fmla="*/ 655 w 1639"/>
                  <a:gd name="T45" fmla="*/ 1623 h 1638"/>
                  <a:gd name="T46" fmla="*/ 539 w 1639"/>
                  <a:gd name="T47" fmla="*/ 1589 h 1638"/>
                  <a:gd name="T48" fmla="*/ 429 w 1639"/>
                  <a:gd name="T49" fmla="*/ 1540 h 1638"/>
                  <a:gd name="T50" fmla="*/ 330 w 1639"/>
                  <a:gd name="T51" fmla="*/ 1477 h 1638"/>
                  <a:gd name="T52" fmla="*/ 241 w 1639"/>
                  <a:gd name="T53" fmla="*/ 1399 h 1638"/>
                  <a:gd name="T54" fmla="*/ 163 w 1639"/>
                  <a:gd name="T55" fmla="*/ 1310 h 1638"/>
                  <a:gd name="T56" fmla="*/ 100 w 1639"/>
                  <a:gd name="T57" fmla="*/ 1210 h 1638"/>
                  <a:gd name="T58" fmla="*/ 51 w 1639"/>
                  <a:gd name="T59" fmla="*/ 1102 h 1638"/>
                  <a:gd name="T60" fmla="*/ 17 w 1639"/>
                  <a:gd name="T61" fmla="*/ 985 h 1638"/>
                  <a:gd name="T62" fmla="*/ 1 w 1639"/>
                  <a:gd name="T63" fmla="*/ 862 h 1638"/>
                  <a:gd name="T64" fmla="*/ 5 w 1639"/>
                  <a:gd name="T65" fmla="*/ 736 h 1638"/>
                  <a:gd name="T66" fmla="*/ 27 w 1639"/>
                  <a:gd name="T67" fmla="*/ 615 h 1638"/>
                  <a:gd name="T68" fmla="*/ 65 w 1639"/>
                  <a:gd name="T69" fmla="*/ 501 h 1638"/>
                  <a:gd name="T70" fmla="*/ 119 w 1639"/>
                  <a:gd name="T71" fmla="*/ 395 h 1638"/>
                  <a:gd name="T72" fmla="*/ 187 w 1639"/>
                  <a:gd name="T73" fmla="*/ 299 h 1638"/>
                  <a:gd name="T74" fmla="*/ 270 w 1639"/>
                  <a:gd name="T75" fmla="*/ 213 h 1638"/>
                  <a:gd name="T76" fmla="*/ 362 w 1639"/>
                  <a:gd name="T77" fmla="*/ 141 h 1638"/>
                  <a:gd name="T78" fmla="*/ 465 w 1639"/>
                  <a:gd name="T79" fmla="*/ 81 h 1638"/>
                  <a:gd name="T80" fmla="*/ 576 w 1639"/>
                  <a:gd name="T81" fmla="*/ 37 h 1638"/>
                  <a:gd name="T82" fmla="*/ 695 w 1639"/>
                  <a:gd name="T83" fmla="*/ 9 h 1638"/>
                  <a:gd name="T84" fmla="*/ 820 w 1639"/>
                  <a:gd name="T85" fmla="*/ 0 h 1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639" h="1638">
                    <a:moveTo>
                      <a:pt x="820" y="0"/>
                    </a:moveTo>
                    <a:lnTo>
                      <a:pt x="863" y="1"/>
                    </a:lnTo>
                    <a:lnTo>
                      <a:pt x="904" y="5"/>
                    </a:lnTo>
                    <a:lnTo>
                      <a:pt x="945" y="9"/>
                    </a:lnTo>
                    <a:lnTo>
                      <a:pt x="986" y="17"/>
                    </a:lnTo>
                    <a:lnTo>
                      <a:pt x="1025" y="27"/>
                    </a:lnTo>
                    <a:lnTo>
                      <a:pt x="1063" y="37"/>
                    </a:lnTo>
                    <a:lnTo>
                      <a:pt x="1102" y="50"/>
                    </a:lnTo>
                    <a:lnTo>
                      <a:pt x="1139" y="64"/>
                    </a:lnTo>
                    <a:lnTo>
                      <a:pt x="1175" y="81"/>
                    </a:lnTo>
                    <a:lnTo>
                      <a:pt x="1211" y="99"/>
                    </a:lnTo>
                    <a:lnTo>
                      <a:pt x="1245" y="119"/>
                    </a:lnTo>
                    <a:lnTo>
                      <a:pt x="1279" y="141"/>
                    </a:lnTo>
                    <a:lnTo>
                      <a:pt x="1311" y="163"/>
                    </a:lnTo>
                    <a:lnTo>
                      <a:pt x="1342" y="187"/>
                    </a:lnTo>
                    <a:lnTo>
                      <a:pt x="1371" y="213"/>
                    </a:lnTo>
                    <a:lnTo>
                      <a:pt x="1400" y="240"/>
                    </a:lnTo>
                    <a:lnTo>
                      <a:pt x="1427" y="268"/>
                    </a:lnTo>
                    <a:lnTo>
                      <a:pt x="1452" y="299"/>
                    </a:lnTo>
                    <a:lnTo>
                      <a:pt x="1477" y="330"/>
                    </a:lnTo>
                    <a:lnTo>
                      <a:pt x="1500" y="362"/>
                    </a:lnTo>
                    <a:lnTo>
                      <a:pt x="1521" y="395"/>
                    </a:lnTo>
                    <a:lnTo>
                      <a:pt x="1541" y="429"/>
                    </a:lnTo>
                    <a:lnTo>
                      <a:pt x="1560" y="464"/>
                    </a:lnTo>
                    <a:lnTo>
                      <a:pt x="1576" y="501"/>
                    </a:lnTo>
                    <a:lnTo>
                      <a:pt x="1590" y="538"/>
                    </a:lnTo>
                    <a:lnTo>
                      <a:pt x="1603" y="576"/>
                    </a:lnTo>
                    <a:lnTo>
                      <a:pt x="1614" y="615"/>
                    </a:lnTo>
                    <a:lnTo>
                      <a:pt x="1623" y="655"/>
                    </a:lnTo>
                    <a:lnTo>
                      <a:pt x="1630" y="695"/>
                    </a:lnTo>
                    <a:lnTo>
                      <a:pt x="1636" y="736"/>
                    </a:lnTo>
                    <a:lnTo>
                      <a:pt x="1638" y="778"/>
                    </a:lnTo>
                    <a:lnTo>
                      <a:pt x="1639" y="820"/>
                    </a:lnTo>
                    <a:lnTo>
                      <a:pt x="1638" y="862"/>
                    </a:lnTo>
                    <a:lnTo>
                      <a:pt x="1636" y="903"/>
                    </a:lnTo>
                    <a:lnTo>
                      <a:pt x="1630" y="944"/>
                    </a:lnTo>
                    <a:lnTo>
                      <a:pt x="1623" y="985"/>
                    </a:lnTo>
                    <a:lnTo>
                      <a:pt x="1614" y="1024"/>
                    </a:lnTo>
                    <a:lnTo>
                      <a:pt x="1603" y="1063"/>
                    </a:lnTo>
                    <a:lnTo>
                      <a:pt x="1590" y="1102"/>
                    </a:lnTo>
                    <a:lnTo>
                      <a:pt x="1576" y="1138"/>
                    </a:lnTo>
                    <a:lnTo>
                      <a:pt x="1560" y="1174"/>
                    </a:lnTo>
                    <a:lnTo>
                      <a:pt x="1541" y="1210"/>
                    </a:lnTo>
                    <a:lnTo>
                      <a:pt x="1521" y="1244"/>
                    </a:lnTo>
                    <a:lnTo>
                      <a:pt x="1500" y="1278"/>
                    </a:lnTo>
                    <a:lnTo>
                      <a:pt x="1477" y="1310"/>
                    </a:lnTo>
                    <a:lnTo>
                      <a:pt x="1452" y="1341"/>
                    </a:lnTo>
                    <a:lnTo>
                      <a:pt x="1427" y="1371"/>
                    </a:lnTo>
                    <a:lnTo>
                      <a:pt x="1400" y="1399"/>
                    </a:lnTo>
                    <a:lnTo>
                      <a:pt x="1371" y="1426"/>
                    </a:lnTo>
                    <a:lnTo>
                      <a:pt x="1342" y="1452"/>
                    </a:lnTo>
                    <a:lnTo>
                      <a:pt x="1311" y="1477"/>
                    </a:lnTo>
                    <a:lnTo>
                      <a:pt x="1279" y="1499"/>
                    </a:lnTo>
                    <a:lnTo>
                      <a:pt x="1245" y="1520"/>
                    </a:lnTo>
                    <a:lnTo>
                      <a:pt x="1211" y="1540"/>
                    </a:lnTo>
                    <a:lnTo>
                      <a:pt x="1175" y="1558"/>
                    </a:lnTo>
                    <a:lnTo>
                      <a:pt x="1139" y="1575"/>
                    </a:lnTo>
                    <a:lnTo>
                      <a:pt x="1102" y="1589"/>
                    </a:lnTo>
                    <a:lnTo>
                      <a:pt x="1063" y="1602"/>
                    </a:lnTo>
                    <a:lnTo>
                      <a:pt x="1025" y="1613"/>
                    </a:lnTo>
                    <a:lnTo>
                      <a:pt x="986" y="1623"/>
                    </a:lnTo>
                    <a:lnTo>
                      <a:pt x="945" y="1629"/>
                    </a:lnTo>
                    <a:lnTo>
                      <a:pt x="904" y="1635"/>
                    </a:lnTo>
                    <a:lnTo>
                      <a:pt x="863" y="1637"/>
                    </a:lnTo>
                    <a:lnTo>
                      <a:pt x="820" y="1638"/>
                    </a:lnTo>
                    <a:lnTo>
                      <a:pt x="778" y="1637"/>
                    </a:lnTo>
                    <a:lnTo>
                      <a:pt x="736" y="1635"/>
                    </a:lnTo>
                    <a:lnTo>
                      <a:pt x="695" y="1629"/>
                    </a:lnTo>
                    <a:lnTo>
                      <a:pt x="655" y="1623"/>
                    </a:lnTo>
                    <a:lnTo>
                      <a:pt x="615" y="1613"/>
                    </a:lnTo>
                    <a:lnTo>
                      <a:pt x="576" y="1602"/>
                    </a:lnTo>
                    <a:lnTo>
                      <a:pt x="539" y="1589"/>
                    </a:lnTo>
                    <a:lnTo>
                      <a:pt x="501" y="1575"/>
                    </a:lnTo>
                    <a:lnTo>
                      <a:pt x="465" y="1558"/>
                    </a:lnTo>
                    <a:lnTo>
                      <a:pt x="429" y="1540"/>
                    </a:lnTo>
                    <a:lnTo>
                      <a:pt x="395" y="1520"/>
                    </a:lnTo>
                    <a:lnTo>
                      <a:pt x="362" y="1499"/>
                    </a:lnTo>
                    <a:lnTo>
                      <a:pt x="330" y="1477"/>
                    </a:lnTo>
                    <a:lnTo>
                      <a:pt x="299" y="1452"/>
                    </a:lnTo>
                    <a:lnTo>
                      <a:pt x="270" y="1426"/>
                    </a:lnTo>
                    <a:lnTo>
                      <a:pt x="241" y="1399"/>
                    </a:lnTo>
                    <a:lnTo>
                      <a:pt x="214" y="1371"/>
                    </a:lnTo>
                    <a:lnTo>
                      <a:pt x="187" y="1341"/>
                    </a:lnTo>
                    <a:lnTo>
                      <a:pt x="163" y="1310"/>
                    </a:lnTo>
                    <a:lnTo>
                      <a:pt x="141" y="1278"/>
                    </a:lnTo>
                    <a:lnTo>
                      <a:pt x="119" y="1244"/>
                    </a:lnTo>
                    <a:lnTo>
                      <a:pt x="100" y="1210"/>
                    </a:lnTo>
                    <a:lnTo>
                      <a:pt x="81" y="1174"/>
                    </a:lnTo>
                    <a:lnTo>
                      <a:pt x="65" y="1138"/>
                    </a:lnTo>
                    <a:lnTo>
                      <a:pt x="51" y="1102"/>
                    </a:lnTo>
                    <a:lnTo>
                      <a:pt x="37" y="1063"/>
                    </a:lnTo>
                    <a:lnTo>
                      <a:pt x="27" y="1024"/>
                    </a:lnTo>
                    <a:lnTo>
                      <a:pt x="17" y="985"/>
                    </a:lnTo>
                    <a:lnTo>
                      <a:pt x="9" y="944"/>
                    </a:lnTo>
                    <a:lnTo>
                      <a:pt x="5" y="903"/>
                    </a:lnTo>
                    <a:lnTo>
                      <a:pt x="1" y="862"/>
                    </a:lnTo>
                    <a:lnTo>
                      <a:pt x="0" y="820"/>
                    </a:lnTo>
                    <a:lnTo>
                      <a:pt x="1" y="778"/>
                    </a:lnTo>
                    <a:lnTo>
                      <a:pt x="5" y="736"/>
                    </a:lnTo>
                    <a:lnTo>
                      <a:pt x="9" y="695"/>
                    </a:lnTo>
                    <a:lnTo>
                      <a:pt x="17" y="655"/>
                    </a:lnTo>
                    <a:lnTo>
                      <a:pt x="27" y="615"/>
                    </a:lnTo>
                    <a:lnTo>
                      <a:pt x="37" y="576"/>
                    </a:lnTo>
                    <a:lnTo>
                      <a:pt x="51" y="538"/>
                    </a:lnTo>
                    <a:lnTo>
                      <a:pt x="65" y="501"/>
                    </a:lnTo>
                    <a:lnTo>
                      <a:pt x="81" y="464"/>
                    </a:lnTo>
                    <a:lnTo>
                      <a:pt x="100" y="429"/>
                    </a:lnTo>
                    <a:lnTo>
                      <a:pt x="119" y="395"/>
                    </a:lnTo>
                    <a:lnTo>
                      <a:pt x="141" y="362"/>
                    </a:lnTo>
                    <a:lnTo>
                      <a:pt x="163" y="330"/>
                    </a:lnTo>
                    <a:lnTo>
                      <a:pt x="187" y="299"/>
                    </a:lnTo>
                    <a:lnTo>
                      <a:pt x="214" y="268"/>
                    </a:lnTo>
                    <a:lnTo>
                      <a:pt x="241" y="240"/>
                    </a:lnTo>
                    <a:lnTo>
                      <a:pt x="270" y="213"/>
                    </a:lnTo>
                    <a:lnTo>
                      <a:pt x="299" y="187"/>
                    </a:lnTo>
                    <a:lnTo>
                      <a:pt x="330" y="163"/>
                    </a:lnTo>
                    <a:lnTo>
                      <a:pt x="362" y="141"/>
                    </a:lnTo>
                    <a:lnTo>
                      <a:pt x="395" y="119"/>
                    </a:lnTo>
                    <a:lnTo>
                      <a:pt x="429" y="99"/>
                    </a:lnTo>
                    <a:lnTo>
                      <a:pt x="465" y="81"/>
                    </a:lnTo>
                    <a:lnTo>
                      <a:pt x="501" y="64"/>
                    </a:lnTo>
                    <a:lnTo>
                      <a:pt x="539" y="50"/>
                    </a:lnTo>
                    <a:lnTo>
                      <a:pt x="576" y="37"/>
                    </a:lnTo>
                    <a:lnTo>
                      <a:pt x="615" y="27"/>
                    </a:lnTo>
                    <a:lnTo>
                      <a:pt x="655" y="17"/>
                    </a:lnTo>
                    <a:lnTo>
                      <a:pt x="695" y="9"/>
                    </a:lnTo>
                    <a:lnTo>
                      <a:pt x="736" y="5"/>
                    </a:lnTo>
                    <a:lnTo>
                      <a:pt x="778" y="1"/>
                    </a:lnTo>
                    <a:lnTo>
                      <a:pt x="820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chemeClr val="bg1">
                      <a:alpha val="0"/>
                    </a:schemeClr>
                  </a:gs>
                  <a:gs pos="0">
                    <a:schemeClr val="bg1">
                      <a:alpha val="46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0" name="Freeform 34"/>
              <p:cNvSpPr>
                <a:spLocks/>
              </p:cNvSpPr>
              <p:nvPr/>
            </p:nvSpPr>
            <p:spPr bwMode="auto">
              <a:xfrm>
                <a:off x="5951439" y="5105271"/>
                <a:ext cx="351507" cy="351507"/>
              </a:xfrm>
              <a:custGeom>
                <a:avLst/>
                <a:gdLst>
                  <a:gd name="T0" fmla="*/ 853 w 1548"/>
                  <a:gd name="T1" fmla="*/ 4 h 1547"/>
                  <a:gd name="T2" fmla="*/ 967 w 1548"/>
                  <a:gd name="T3" fmla="*/ 25 h 1547"/>
                  <a:gd name="T4" fmla="*/ 1076 w 1548"/>
                  <a:gd name="T5" fmla="*/ 61 h 1547"/>
                  <a:gd name="T6" fmla="*/ 1176 w 1548"/>
                  <a:gd name="T7" fmla="*/ 112 h 1547"/>
                  <a:gd name="T8" fmla="*/ 1266 w 1548"/>
                  <a:gd name="T9" fmla="*/ 177 h 1547"/>
                  <a:gd name="T10" fmla="*/ 1347 w 1548"/>
                  <a:gd name="T11" fmla="*/ 254 h 1547"/>
                  <a:gd name="T12" fmla="*/ 1415 w 1548"/>
                  <a:gd name="T13" fmla="*/ 341 h 1547"/>
                  <a:gd name="T14" fmla="*/ 1471 w 1548"/>
                  <a:gd name="T15" fmla="*/ 439 h 1547"/>
                  <a:gd name="T16" fmla="*/ 1514 w 1548"/>
                  <a:gd name="T17" fmla="*/ 544 h 1547"/>
                  <a:gd name="T18" fmla="*/ 1539 w 1548"/>
                  <a:gd name="T19" fmla="*/ 655 h 1547"/>
                  <a:gd name="T20" fmla="*/ 1548 w 1548"/>
                  <a:gd name="T21" fmla="*/ 774 h 1547"/>
                  <a:gd name="T22" fmla="*/ 1539 w 1548"/>
                  <a:gd name="T23" fmla="*/ 891 h 1547"/>
                  <a:gd name="T24" fmla="*/ 1514 w 1548"/>
                  <a:gd name="T25" fmla="*/ 1003 h 1547"/>
                  <a:gd name="T26" fmla="*/ 1471 w 1548"/>
                  <a:gd name="T27" fmla="*/ 1109 h 1547"/>
                  <a:gd name="T28" fmla="*/ 1415 w 1548"/>
                  <a:gd name="T29" fmla="*/ 1206 h 1547"/>
                  <a:gd name="T30" fmla="*/ 1347 w 1548"/>
                  <a:gd name="T31" fmla="*/ 1294 h 1547"/>
                  <a:gd name="T32" fmla="*/ 1266 w 1548"/>
                  <a:gd name="T33" fmla="*/ 1370 h 1547"/>
                  <a:gd name="T34" fmla="*/ 1176 w 1548"/>
                  <a:gd name="T35" fmla="*/ 1435 h 1547"/>
                  <a:gd name="T36" fmla="*/ 1076 w 1548"/>
                  <a:gd name="T37" fmla="*/ 1486 h 1547"/>
                  <a:gd name="T38" fmla="*/ 967 w 1548"/>
                  <a:gd name="T39" fmla="*/ 1523 h 1547"/>
                  <a:gd name="T40" fmla="*/ 853 w 1548"/>
                  <a:gd name="T41" fmla="*/ 1543 h 1547"/>
                  <a:gd name="T42" fmla="*/ 735 w 1548"/>
                  <a:gd name="T43" fmla="*/ 1546 h 1547"/>
                  <a:gd name="T44" fmla="*/ 618 w 1548"/>
                  <a:gd name="T45" fmla="*/ 1531 h 1547"/>
                  <a:gd name="T46" fmla="*/ 509 w 1548"/>
                  <a:gd name="T47" fmla="*/ 1500 h 1547"/>
                  <a:gd name="T48" fmla="*/ 405 w 1548"/>
                  <a:gd name="T49" fmla="*/ 1453 h 1547"/>
                  <a:gd name="T50" fmla="*/ 311 w 1548"/>
                  <a:gd name="T51" fmla="*/ 1393 h 1547"/>
                  <a:gd name="T52" fmla="*/ 227 w 1548"/>
                  <a:gd name="T53" fmla="*/ 1320 h 1547"/>
                  <a:gd name="T54" fmla="*/ 154 w 1548"/>
                  <a:gd name="T55" fmla="*/ 1237 h 1547"/>
                  <a:gd name="T56" fmla="*/ 94 w 1548"/>
                  <a:gd name="T57" fmla="*/ 1142 h 1547"/>
                  <a:gd name="T58" fmla="*/ 48 w 1548"/>
                  <a:gd name="T59" fmla="*/ 1040 h 1547"/>
                  <a:gd name="T60" fmla="*/ 16 w 1548"/>
                  <a:gd name="T61" fmla="*/ 929 h 1547"/>
                  <a:gd name="T62" fmla="*/ 1 w 1548"/>
                  <a:gd name="T63" fmla="*/ 814 h 1547"/>
                  <a:gd name="T64" fmla="*/ 5 w 1548"/>
                  <a:gd name="T65" fmla="*/ 694 h 1547"/>
                  <a:gd name="T66" fmla="*/ 25 w 1548"/>
                  <a:gd name="T67" fmla="*/ 580 h 1547"/>
                  <a:gd name="T68" fmla="*/ 62 w 1548"/>
                  <a:gd name="T69" fmla="*/ 473 h 1547"/>
                  <a:gd name="T70" fmla="*/ 113 w 1548"/>
                  <a:gd name="T71" fmla="*/ 373 h 1547"/>
                  <a:gd name="T72" fmla="*/ 177 w 1548"/>
                  <a:gd name="T73" fmla="*/ 281 h 1547"/>
                  <a:gd name="T74" fmla="*/ 254 w 1548"/>
                  <a:gd name="T75" fmla="*/ 202 h 1547"/>
                  <a:gd name="T76" fmla="*/ 341 w 1548"/>
                  <a:gd name="T77" fmla="*/ 132 h 1547"/>
                  <a:gd name="T78" fmla="*/ 439 w 1548"/>
                  <a:gd name="T79" fmla="*/ 76 h 1547"/>
                  <a:gd name="T80" fmla="*/ 544 w 1548"/>
                  <a:gd name="T81" fmla="*/ 35 h 1547"/>
                  <a:gd name="T82" fmla="*/ 656 w 1548"/>
                  <a:gd name="T83" fmla="*/ 9 h 1547"/>
                  <a:gd name="T84" fmla="*/ 774 w 1548"/>
                  <a:gd name="T85" fmla="*/ 0 h 15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548" h="1547">
                    <a:moveTo>
                      <a:pt x="774" y="0"/>
                    </a:moveTo>
                    <a:lnTo>
                      <a:pt x="814" y="1"/>
                    </a:lnTo>
                    <a:lnTo>
                      <a:pt x="853" y="4"/>
                    </a:lnTo>
                    <a:lnTo>
                      <a:pt x="892" y="9"/>
                    </a:lnTo>
                    <a:lnTo>
                      <a:pt x="930" y="16"/>
                    </a:lnTo>
                    <a:lnTo>
                      <a:pt x="967" y="25"/>
                    </a:lnTo>
                    <a:lnTo>
                      <a:pt x="1004" y="35"/>
                    </a:lnTo>
                    <a:lnTo>
                      <a:pt x="1040" y="47"/>
                    </a:lnTo>
                    <a:lnTo>
                      <a:pt x="1076" y="61"/>
                    </a:lnTo>
                    <a:lnTo>
                      <a:pt x="1110" y="76"/>
                    </a:lnTo>
                    <a:lnTo>
                      <a:pt x="1143" y="93"/>
                    </a:lnTo>
                    <a:lnTo>
                      <a:pt x="1176" y="112"/>
                    </a:lnTo>
                    <a:lnTo>
                      <a:pt x="1207" y="132"/>
                    </a:lnTo>
                    <a:lnTo>
                      <a:pt x="1238" y="154"/>
                    </a:lnTo>
                    <a:lnTo>
                      <a:pt x="1266" y="177"/>
                    </a:lnTo>
                    <a:lnTo>
                      <a:pt x="1295" y="202"/>
                    </a:lnTo>
                    <a:lnTo>
                      <a:pt x="1321" y="227"/>
                    </a:lnTo>
                    <a:lnTo>
                      <a:pt x="1347" y="254"/>
                    </a:lnTo>
                    <a:lnTo>
                      <a:pt x="1371" y="281"/>
                    </a:lnTo>
                    <a:lnTo>
                      <a:pt x="1394" y="311"/>
                    </a:lnTo>
                    <a:lnTo>
                      <a:pt x="1415" y="341"/>
                    </a:lnTo>
                    <a:lnTo>
                      <a:pt x="1436" y="373"/>
                    </a:lnTo>
                    <a:lnTo>
                      <a:pt x="1454" y="405"/>
                    </a:lnTo>
                    <a:lnTo>
                      <a:pt x="1471" y="439"/>
                    </a:lnTo>
                    <a:lnTo>
                      <a:pt x="1487" y="473"/>
                    </a:lnTo>
                    <a:lnTo>
                      <a:pt x="1501" y="507"/>
                    </a:lnTo>
                    <a:lnTo>
                      <a:pt x="1514" y="544"/>
                    </a:lnTo>
                    <a:lnTo>
                      <a:pt x="1524" y="580"/>
                    </a:lnTo>
                    <a:lnTo>
                      <a:pt x="1532" y="618"/>
                    </a:lnTo>
                    <a:lnTo>
                      <a:pt x="1539" y="655"/>
                    </a:lnTo>
                    <a:lnTo>
                      <a:pt x="1544" y="694"/>
                    </a:lnTo>
                    <a:lnTo>
                      <a:pt x="1547" y="734"/>
                    </a:lnTo>
                    <a:lnTo>
                      <a:pt x="1548" y="774"/>
                    </a:lnTo>
                    <a:lnTo>
                      <a:pt x="1547" y="814"/>
                    </a:lnTo>
                    <a:lnTo>
                      <a:pt x="1544" y="853"/>
                    </a:lnTo>
                    <a:lnTo>
                      <a:pt x="1539" y="891"/>
                    </a:lnTo>
                    <a:lnTo>
                      <a:pt x="1532" y="929"/>
                    </a:lnTo>
                    <a:lnTo>
                      <a:pt x="1524" y="967"/>
                    </a:lnTo>
                    <a:lnTo>
                      <a:pt x="1514" y="1003"/>
                    </a:lnTo>
                    <a:lnTo>
                      <a:pt x="1501" y="1040"/>
                    </a:lnTo>
                    <a:lnTo>
                      <a:pt x="1487" y="1075"/>
                    </a:lnTo>
                    <a:lnTo>
                      <a:pt x="1471" y="1109"/>
                    </a:lnTo>
                    <a:lnTo>
                      <a:pt x="1454" y="1142"/>
                    </a:lnTo>
                    <a:lnTo>
                      <a:pt x="1436" y="1174"/>
                    </a:lnTo>
                    <a:lnTo>
                      <a:pt x="1415" y="1206"/>
                    </a:lnTo>
                    <a:lnTo>
                      <a:pt x="1394" y="1237"/>
                    </a:lnTo>
                    <a:lnTo>
                      <a:pt x="1371" y="1265"/>
                    </a:lnTo>
                    <a:lnTo>
                      <a:pt x="1347" y="1294"/>
                    </a:lnTo>
                    <a:lnTo>
                      <a:pt x="1321" y="1320"/>
                    </a:lnTo>
                    <a:lnTo>
                      <a:pt x="1295" y="1346"/>
                    </a:lnTo>
                    <a:lnTo>
                      <a:pt x="1266" y="1370"/>
                    </a:lnTo>
                    <a:lnTo>
                      <a:pt x="1238" y="1393"/>
                    </a:lnTo>
                    <a:lnTo>
                      <a:pt x="1207" y="1415"/>
                    </a:lnTo>
                    <a:lnTo>
                      <a:pt x="1176" y="1435"/>
                    </a:lnTo>
                    <a:lnTo>
                      <a:pt x="1143" y="1453"/>
                    </a:lnTo>
                    <a:lnTo>
                      <a:pt x="1110" y="1470"/>
                    </a:lnTo>
                    <a:lnTo>
                      <a:pt x="1076" y="1486"/>
                    </a:lnTo>
                    <a:lnTo>
                      <a:pt x="1040" y="1500"/>
                    </a:lnTo>
                    <a:lnTo>
                      <a:pt x="1004" y="1513"/>
                    </a:lnTo>
                    <a:lnTo>
                      <a:pt x="967" y="1523"/>
                    </a:lnTo>
                    <a:lnTo>
                      <a:pt x="930" y="1531"/>
                    </a:lnTo>
                    <a:lnTo>
                      <a:pt x="892" y="1538"/>
                    </a:lnTo>
                    <a:lnTo>
                      <a:pt x="853" y="1543"/>
                    </a:lnTo>
                    <a:lnTo>
                      <a:pt x="814" y="1546"/>
                    </a:lnTo>
                    <a:lnTo>
                      <a:pt x="774" y="1547"/>
                    </a:lnTo>
                    <a:lnTo>
                      <a:pt x="735" y="1546"/>
                    </a:lnTo>
                    <a:lnTo>
                      <a:pt x="695" y="1543"/>
                    </a:lnTo>
                    <a:lnTo>
                      <a:pt x="656" y="1538"/>
                    </a:lnTo>
                    <a:lnTo>
                      <a:pt x="618" y="1531"/>
                    </a:lnTo>
                    <a:lnTo>
                      <a:pt x="581" y="1523"/>
                    </a:lnTo>
                    <a:lnTo>
                      <a:pt x="544" y="1513"/>
                    </a:lnTo>
                    <a:lnTo>
                      <a:pt x="509" y="1500"/>
                    </a:lnTo>
                    <a:lnTo>
                      <a:pt x="473" y="1486"/>
                    </a:lnTo>
                    <a:lnTo>
                      <a:pt x="439" y="1470"/>
                    </a:lnTo>
                    <a:lnTo>
                      <a:pt x="405" y="1453"/>
                    </a:lnTo>
                    <a:lnTo>
                      <a:pt x="373" y="1435"/>
                    </a:lnTo>
                    <a:lnTo>
                      <a:pt x="341" y="1415"/>
                    </a:lnTo>
                    <a:lnTo>
                      <a:pt x="311" y="1393"/>
                    </a:lnTo>
                    <a:lnTo>
                      <a:pt x="282" y="1370"/>
                    </a:lnTo>
                    <a:lnTo>
                      <a:pt x="254" y="1346"/>
                    </a:lnTo>
                    <a:lnTo>
                      <a:pt x="227" y="1320"/>
                    </a:lnTo>
                    <a:lnTo>
                      <a:pt x="202" y="1294"/>
                    </a:lnTo>
                    <a:lnTo>
                      <a:pt x="177" y="1265"/>
                    </a:lnTo>
                    <a:lnTo>
                      <a:pt x="154" y="1237"/>
                    </a:lnTo>
                    <a:lnTo>
                      <a:pt x="132" y="1206"/>
                    </a:lnTo>
                    <a:lnTo>
                      <a:pt x="113" y="1174"/>
                    </a:lnTo>
                    <a:lnTo>
                      <a:pt x="94" y="1142"/>
                    </a:lnTo>
                    <a:lnTo>
                      <a:pt x="76" y="1109"/>
                    </a:lnTo>
                    <a:lnTo>
                      <a:pt x="62" y="1075"/>
                    </a:lnTo>
                    <a:lnTo>
                      <a:pt x="48" y="1040"/>
                    </a:lnTo>
                    <a:lnTo>
                      <a:pt x="35" y="1003"/>
                    </a:lnTo>
                    <a:lnTo>
                      <a:pt x="25" y="967"/>
                    </a:lnTo>
                    <a:lnTo>
                      <a:pt x="16" y="929"/>
                    </a:lnTo>
                    <a:lnTo>
                      <a:pt x="9" y="891"/>
                    </a:lnTo>
                    <a:lnTo>
                      <a:pt x="5" y="853"/>
                    </a:lnTo>
                    <a:lnTo>
                      <a:pt x="1" y="814"/>
                    </a:lnTo>
                    <a:lnTo>
                      <a:pt x="0" y="774"/>
                    </a:lnTo>
                    <a:lnTo>
                      <a:pt x="1" y="734"/>
                    </a:lnTo>
                    <a:lnTo>
                      <a:pt x="5" y="694"/>
                    </a:lnTo>
                    <a:lnTo>
                      <a:pt x="9" y="655"/>
                    </a:lnTo>
                    <a:lnTo>
                      <a:pt x="16" y="618"/>
                    </a:lnTo>
                    <a:lnTo>
                      <a:pt x="25" y="580"/>
                    </a:lnTo>
                    <a:lnTo>
                      <a:pt x="35" y="544"/>
                    </a:lnTo>
                    <a:lnTo>
                      <a:pt x="48" y="507"/>
                    </a:lnTo>
                    <a:lnTo>
                      <a:pt x="62" y="473"/>
                    </a:lnTo>
                    <a:lnTo>
                      <a:pt x="76" y="439"/>
                    </a:lnTo>
                    <a:lnTo>
                      <a:pt x="94" y="405"/>
                    </a:lnTo>
                    <a:lnTo>
                      <a:pt x="113" y="373"/>
                    </a:lnTo>
                    <a:lnTo>
                      <a:pt x="132" y="341"/>
                    </a:lnTo>
                    <a:lnTo>
                      <a:pt x="154" y="311"/>
                    </a:lnTo>
                    <a:lnTo>
                      <a:pt x="177" y="281"/>
                    </a:lnTo>
                    <a:lnTo>
                      <a:pt x="202" y="254"/>
                    </a:lnTo>
                    <a:lnTo>
                      <a:pt x="227" y="227"/>
                    </a:lnTo>
                    <a:lnTo>
                      <a:pt x="254" y="202"/>
                    </a:lnTo>
                    <a:lnTo>
                      <a:pt x="282" y="177"/>
                    </a:lnTo>
                    <a:lnTo>
                      <a:pt x="311" y="154"/>
                    </a:lnTo>
                    <a:lnTo>
                      <a:pt x="341" y="132"/>
                    </a:lnTo>
                    <a:lnTo>
                      <a:pt x="373" y="112"/>
                    </a:lnTo>
                    <a:lnTo>
                      <a:pt x="405" y="93"/>
                    </a:lnTo>
                    <a:lnTo>
                      <a:pt x="439" y="76"/>
                    </a:lnTo>
                    <a:lnTo>
                      <a:pt x="473" y="61"/>
                    </a:lnTo>
                    <a:lnTo>
                      <a:pt x="509" y="47"/>
                    </a:lnTo>
                    <a:lnTo>
                      <a:pt x="544" y="35"/>
                    </a:lnTo>
                    <a:lnTo>
                      <a:pt x="581" y="25"/>
                    </a:lnTo>
                    <a:lnTo>
                      <a:pt x="618" y="16"/>
                    </a:lnTo>
                    <a:lnTo>
                      <a:pt x="656" y="9"/>
                    </a:lnTo>
                    <a:lnTo>
                      <a:pt x="695" y="4"/>
                    </a:lnTo>
                    <a:lnTo>
                      <a:pt x="735" y="1"/>
                    </a:lnTo>
                    <a:lnTo>
                      <a:pt x="774" y="0"/>
                    </a:lnTo>
                    <a:close/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1" name="Freeform 35"/>
              <p:cNvSpPr>
                <a:spLocks noEditPoints="1"/>
              </p:cNvSpPr>
              <p:nvPr/>
            </p:nvSpPr>
            <p:spPr bwMode="auto">
              <a:xfrm>
                <a:off x="6059071" y="5211540"/>
                <a:ext cx="137606" cy="137606"/>
              </a:xfrm>
              <a:custGeom>
                <a:avLst/>
                <a:gdLst>
                  <a:gd name="T0" fmla="*/ 470 w 608"/>
                  <a:gd name="T1" fmla="*/ 1 h 609"/>
                  <a:gd name="T2" fmla="*/ 514 w 608"/>
                  <a:gd name="T3" fmla="*/ 13 h 609"/>
                  <a:gd name="T4" fmla="*/ 552 w 608"/>
                  <a:gd name="T5" fmla="*/ 36 h 609"/>
                  <a:gd name="T6" fmla="*/ 563 w 608"/>
                  <a:gd name="T7" fmla="*/ 46 h 609"/>
                  <a:gd name="T8" fmla="*/ 589 w 608"/>
                  <a:gd name="T9" fmla="*/ 81 h 609"/>
                  <a:gd name="T10" fmla="*/ 604 w 608"/>
                  <a:gd name="T11" fmla="*/ 123 h 609"/>
                  <a:gd name="T12" fmla="*/ 608 w 608"/>
                  <a:gd name="T13" fmla="*/ 455 h 609"/>
                  <a:gd name="T14" fmla="*/ 601 w 608"/>
                  <a:gd name="T15" fmla="*/ 501 h 609"/>
                  <a:gd name="T16" fmla="*/ 581 w 608"/>
                  <a:gd name="T17" fmla="*/ 541 h 609"/>
                  <a:gd name="T18" fmla="*/ 552 w 608"/>
                  <a:gd name="T19" fmla="*/ 574 h 609"/>
                  <a:gd name="T20" fmla="*/ 514 w 608"/>
                  <a:gd name="T21" fmla="*/ 597 h 609"/>
                  <a:gd name="T22" fmla="*/ 470 w 608"/>
                  <a:gd name="T23" fmla="*/ 608 h 609"/>
                  <a:gd name="T24" fmla="*/ 138 w 608"/>
                  <a:gd name="T25" fmla="*/ 608 h 609"/>
                  <a:gd name="T26" fmla="*/ 93 w 608"/>
                  <a:gd name="T27" fmla="*/ 597 h 609"/>
                  <a:gd name="T28" fmla="*/ 55 w 608"/>
                  <a:gd name="T29" fmla="*/ 574 h 609"/>
                  <a:gd name="T30" fmla="*/ 35 w 608"/>
                  <a:gd name="T31" fmla="*/ 553 h 609"/>
                  <a:gd name="T32" fmla="*/ 11 w 608"/>
                  <a:gd name="T33" fmla="*/ 514 h 609"/>
                  <a:gd name="T34" fmla="*/ 0 w 608"/>
                  <a:gd name="T35" fmla="*/ 471 h 609"/>
                  <a:gd name="T36" fmla="*/ 0 w 608"/>
                  <a:gd name="T37" fmla="*/ 138 h 609"/>
                  <a:gd name="T38" fmla="*/ 11 w 608"/>
                  <a:gd name="T39" fmla="*/ 95 h 609"/>
                  <a:gd name="T40" fmla="*/ 35 w 608"/>
                  <a:gd name="T41" fmla="*/ 57 h 609"/>
                  <a:gd name="T42" fmla="*/ 67 w 608"/>
                  <a:gd name="T43" fmla="*/ 28 h 609"/>
                  <a:gd name="T44" fmla="*/ 107 w 608"/>
                  <a:gd name="T45" fmla="*/ 8 h 609"/>
                  <a:gd name="T46" fmla="*/ 152 w 608"/>
                  <a:gd name="T47" fmla="*/ 0 h 609"/>
                  <a:gd name="T48" fmla="*/ 143 w 608"/>
                  <a:gd name="T49" fmla="*/ 61 h 609"/>
                  <a:gd name="T50" fmla="*/ 116 w 608"/>
                  <a:gd name="T51" fmla="*/ 68 h 609"/>
                  <a:gd name="T52" fmla="*/ 93 w 608"/>
                  <a:gd name="T53" fmla="*/ 81 h 609"/>
                  <a:gd name="T54" fmla="*/ 75 w 608"/>
                  <a:gd name="T55" fmla="*/ 102 h 609"/>
                  <a:gd name="T56" fmla="*/ 62 w 608"/>
                  <a:gd name="T57" fmla="*/ 127 h 609"/>
                  <a:gd name="T58" fmla="*/ 58 w 608"/>
                  <a:gd name="T59" fmla="*/ 154 h 609"/>
                  <a:gd name="T60" fmla="*/ 60 w 608"/>
                  <a:gd name="T61" fmla="*/ 475 h 609"/>
                  <a:gd name="T62" fmla="*/ 69 w 608"/>
                  <a:gd name="T63" fmla="*/ 501 h 609"/>
                  <a:gd name="T64" fmla="*/ 86 w 608"/>
                  <a:gd name="T65" fmla="*/ 522 h 609"/>
                  <a:gd name="T66" fmla="*/ 108 w 608"/>
                  <a:gd name="T67" fmla="*/ 538 h 609"/>
                  <a:gd name="T68" fmla="*/ 134 w 608"/>
                  <a:gd name="T69" fmla="*/ 547 h 609"/>
                  <a:gd name="T70" fmla="*/ 454 w 608"/>
                  <a:gd name="T71" fmla="*/ 550 h 609"/>
                  <a:gd name="T72" fmla="*/ 482 w 608"/>
                  <a:gd name="T73" fmla="*/ 545 h 609"/>
                  <a:gd name="T74" fmla="*/ 507 w 608"/>
                  <a:gd name="T75" fmla="*/ 534 h 609"/>
                  <a:gd name="T76" fmla="*/ 527 w 608"/>
                  <a:gd name="T77" fmla="*/ 516 h 609"/>
                  <a:gd name="T78" fmla="*/ 541 w 608"/>
                  <a:gd name="T79" fmla="*/ 492 h 609"/>
                  <a:gd name="T80" fmla="*/ 548 w 608"/>
                  <a:gd name="T81" fmla="*/ 465 h 609"/>
                  <a:gd name="T82" fmla="*/ 548 w 608"/>
                  <a:gd name="T83" fmla="*/ 145 h 609"/>
                  <a:gd name="T84" fmla="*/ 541 w 608"/>
                  <a:gd name="T85" fmla="*/ 118 h 609"/>
                  <a:gd name="T86" fmla="*/ 527 w 608"/>
                  <a:gd name="T87" fmla="*/ 94 h 609"/>
                  <a:gd name="T88" fmla="*/ 514 w 608"/>
                  <a:gd name="T89" fmla="*/ 81 h 609"/>
                  <a:gd name="T90" fmla="*/ 491 w 608"/>
                  <a:gd name="T91" fmla="*/ 68 h 609"/>
                  <a:gd name="T92" fmla="*/ 464 w 608"/>
                  <a:gd name="T93" fmla="*/ 61 h 6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608" h="609">
                    <a:moveTo>
                      <a:pt x="152" y="0"/>
                    </a:moveTo>
                    <a:lnTo>
                      <a:pt x="454" y="0"/>
                    </a:lnTo>
                    <a:lnTo>
                      <a:pt x="470" y="1"/>
                    </a:lnTo>
                    <a:lnTo>
                      <a:pt x="484" y="4"/>
                    </a:lnTo>
                    <a:lnTo>
                      <a:pt x="499" y="8"/>
                    </a:lnTo>
                    <a:lnTo>
                      <a:pt x="514" y="13"/>
                    </a:lnTo>
                    <a:lnTo>
                      <a:pt x="527" y="20"/>
                    </a:lnTo>
                    <a:lnTo>
                      <a:pt x="539" y="28"/>
                    </a:lnTo>
                    <a:lnTo>
                      <a:pt x="552" y="36"/>
                    </a:lnTo>
                    <a:lnTo>
                      <a:pt x="562" y="46"/>
                    </a:lnTo>
                    <a:lnTo>
                      <a:pt x="562" y="46"/>
                    </a:lnTo>
                    <a:lnTo>
                      <a:pt x="563" y="46"/>
                    </a:lnTo>
                    <a:lnTo>
                      <a:pt x="572" y="57"/>
                    </a:lnTo>
                    <a:lnTo>
                      <a:pt x="581" y="69"/>
                    </a:lnTo>
                    <a:lnTo>
                      <a:pt x="589" y="81"/>
                    </a:lnTo>
                    <a:lnTo>
                      <a:pt x="595" y="95"/>
                    </a:lnTo>
                    <a:lnTo>
                      <a:pt x="601" y="109"/>
                    </a:lnTo>
                    <a:lnTo>
                      <a:pt x="604" y="123"/>
                    </a:lnTo>
                    <a:lnTo>
                      <a:pt x="606" y="138"/>
                    </a:lnTo>
                    <a:lnTo>
                      <a:pt x="608" y="154"/>
                    </a:lnTo>
                    <a:lnTo>
                      <a:pt x="608" y="455"/>
                    </a:lnTo>
                    <a:lnTo>
                      <a:pt x="606" y="471"/>
                    </a:lnTo>
                    <a:lnTo>
                      <a:pt x="604" y="486"/>
                    </a:lnTo>
                    <a:lnTo>
                      <a:pt x="601" y="501"/>
                    </a:lnTo>
                    <a:lnTo>
                      <a:pt x="595" y="514"/>
                    </a:lnTo>
                    <a:lnTo>
                      <a:pt x="589" y="528"/>
                    </a:lnTo>
                    <a:lnTo>
                      <a:pt x="581" y="541"/>
                    </a:lnTo>
                    <a:lnTo>
                      <a:pt x="572" y="553"/>
                    </a:lnTo>
                    <a:lnTo>
                      <a:pt x="563" y="563"/>
                    </a:lnTo>
                    <a:lnTo>
                      <a:pt x="552" y="574"/>
                    </a:lnTo>
                    <a:lnTo>
                      <a:pt x="540" y="583"/>
                    </a:lnTo>
                    <a:lnTo>
                      <a:pt x="527" y="590"/>
                    </a:lnTo>
                    <a:lnTo>
                      <a:pt x="514" y="597"/>
                    </a:lnTo>
                    <a:lnTo>
                      <a:pt x="499" y="602"/>
                    </a:lnTo>
                    <a:lnTo>
                      <a:pt x="484" y="606"/>
                    </a:lnTo>
                    <a:lnTo>
                      <a:pt x="470" y="608"/>
                    </a:lnTo>
                    <a:lnTo>
                      <a:pt x="454" y="609"/>
                    </a:lnTo>
                    <a:lnTo>
                      <a:pt x="152" y="609"/>
                    </a:lnTo>
                    <a:lnTo>
                      <a:pt x="138" y="608"/>
                    </a:lnTo>
                    <a:lnTo>
                      <a:pt x="122" y="606"/>
                    </a:lnTo>
                    <a:lnTo>
                      <a:pt x="108" y="602"/>
                    </a:lnTo>
                    <a:lnTo>
                      <a:pt x="93" y="597"/>
                    </a:lnTo>
                    <a:lnTo>
                      <a:pt x="79" y="590"/>
                    </a:lnTo>
                    <a:lnTo>
                      <a:pt x="67" y="583"/>
                    </a:lnTo>
                    <a:lnTo>
                      <a:pt x="55" y="574"/>
                    </a:lnTo>
                    <a:lnTo>
                      <a:pt x="44" y="563"/>
                    </a:lnTo>
                    <a:lnTo>
                      <a:pt x="44" y="563"/>
                    </a:lnTo>
                    <a:lnTo>
                      <a:pt x="35" y="553"/>
                    </a:lnTo>
                    <a:lnTo>
                      <a:pt x="26" y="541"/>
                    </a:lnTo>
                    <a:lnTo>
                      <a:pt x="18" y="528"/>
                    </a:lnTo>
                    <a:lnTo>
                      <a:pt x="11" y="514"/>
                    </a:lnTo>
                    <a:lnTo>
                      <a:pt x="6" y="501"/>
                    </a:lnTo>
                    <a:lnTo>
                      <a:pt x="2" y="486"/>
                    </a:lnTo>
                    <a:lnTo>
                      <a:pt x="0" y="471"/>
                    </a:lnTo>
                    <a:lnTo>
                      <a:pt x="0" y="455"/>
                    </a:lnTo>
                    <a:lnTo>
                      <a:pt x="0" y="154"/>
                    </a:lnTo>
                    <a:lnTo>
                      <a:pt x="0" y="138"/>
                    </a:lnTo>
                    <a:lnTo>
                      <a:pt x="2" y="123"/>
                    </a:lnTo>
                    <a:lnTo>
                      <a:pt x="6" y="109"/>
                    </a:lnTo>
                    <a:lnTo>
                      <a:pt x="11" y="95"/>
                    </a:lnTo>
                    <a:lnTo>
                      <a:pt x="18" y="81"/>
                    </a:lnTo>
                    <a:lnTo>
                      <a:pt x="26" y="69"/>
                    </a:lnTo>
                    <a:lnTo>
                      <a:pt x="35" y="57"/>
                    </a:lnTo>
                    <a:lnTo>
                      <a:pt x="44" y="46"/>
                    </a:lnTo>
                    <a:lnTo>
                      <a:pt x="55" y="36"/>
                    </a:lnTo>
                    <a:lnTo>
                      <a:pt x="67" y="28"/>
                    </a:lnTo>
                    <a:lnTo>
                      <a:pt x="79" y="20"/>
                    </a:lnTo>
                    <a:lnTo>
                      <a:pt x="93" y="13"/>
                    </a:lnTo>
                    <a:lnTo>
                      <a:pt x="107" y="8"/>
                    </a:lnTo>
                    <a:lnTo>
                      <a:pt x="122" y="4"/>
                    </a:lnTo>
                    <a:lnTo>
                      <a:pt x="138" y="1"/>
                    </a:lnTo>
                    <a:lnTo>
                      <a:pt x="152" y="0"/>
                    </a:lnTo>
                    <a:close/>
                    <a:moveTo>
                      <a:pt x="454" y="60"/>
                    </a:moveTo>
                    <a:lnTo>
                      <a:pt x="152" y="60"/>
                    </a:lnTo>
                    <a:lnTo>
                      <a:pt x="143" y="61"/>
                    </a:lnTo>
                    <a:lnTo>
                      <a:pt x="134" y="62"/>
                    </a:lnTo>
                    <a:lnTo>
                      <a:pt x="125" y="64"/>
                    </a:lnTo>
                    <a:lnTo>
                      <a:pt x="116" y="68"/>
                    </a:lnTo>
                    <a:lnTo>
                      <a:pt x="108" y="71"/>
                    </a:lnTo>
                    <a:lnTo>
                      <a:pt x="100" y="76"/>
                    </a:lnTo>
                    <a:lnTo>
                      <a:pt x="93" y="81"/>
                    </a:lnTo>
                    <a:lnTo>
                      <a:pt x="86" y="88"/>
                    </a:lnTo>
                    <a:lnTo>
                      <a:pt x="79" y="94"/>
                    </a:lnTo>
                    <a:lnTo>
                      <a:pt x="75" y="102"/>
                    </a:lnTo>
                    <a:lnTo>
                      <a:pt x="69" y="110"/>
                    </a:lnTo>
                    <a:lnTo>
                      <a:pt x="66" y="118"/>
                    </a:lnTo>
                    <a:lnTo>
                      <a:pt x="62" y="127"/>
                    </a:lnTo>
                    <a:lnTo>
                      <a:pt x="60" y="135"/>
                    </a:lnTo>
                    <a:lnTo>
                      <a:pt x="59" y="145"/>
                    </a:lnTo>
                    <a:lnTo>
                      <a:pt x="58" y="154"/>
                    </a:lnTo>
                    <a:lnTo>
                      <a:pt x="58" y="455"/>
                    </a:lnTo>
                    <a:lnTo>
                      <a:pt x="59" y="465"/>
                    </a:lnTo>
                    <a:lnTo>
                      <a:pt x="60" y="475"/>
                    </a:lnTo>
                    <a:lnTo>
                      <a:pt x="62" y="484"/>
                    </a:lnTo>
                    <a:lnTo>
                      <a:pt x="66" y="492"/>
                    </a:lnTo>
                    <a:lnTo>
                      <a:pt x="69" y="501"/>
                    </a:lnTo>
                    <a:lnTo>
                      <a:pt x="75" y="509"/>
                    </a:lnTo>
                    <a:lnTo>
                      <a:pt x="79" y="516"/>
                    </a:lnTo>
                    <a:lnTo>
                      <a:pt x="86" y="522"/>
                    </a:lnTo>
                    <a:lnTo>
                      <a:pt x="93" y="528"/>
                    </a:lnTo>
                    <a:lnTo>
                      <a:pt x="100" y="534"/>
                    </a:lnTo>
                    <a:lnTo>
                      <a:pt x="108" y="538"/>
                    </a:lnTo>
                    <a:lnTo>
                      <a:pt x="116" y="543"/>
                    </a:lnTo>
                    <a:lnTo>
                      <a:pt x="125" y="545"/>
                    </a:lnTo>
                    <a:lnTo>
                      <a:pt x="134" y="547"/>
                    </a:lnTo>
                    <a:lnTo>
                      <a:pt x="143" y="550"/>
                    </a:lnTo>
                    <a:lnTo>
                      <a:pt x="152" y="550"/>
                    </a:lnTo>
                    <a:lnTo>
                      <a:pt x="454" y="550"/>
                    </a:lnTo>
                    <a:lnTo>
                      <a:pt x="464" y="550"/>
                    </a:lnTo>
                    <a:lnTo>
                      <a:pt x="473" y="547"/>
                    </a:lnTo>
                    <a:lnTo>
                      <a:pt x="482" y="545"/>
                    </a:lnTo>
                    <a:lnTo>
                      <a:pt x="491" y="543"/>
                    </a:lnTo>
                    <a:lnTo>
                      <a:pt x="499" y="538"/>
                    </a:lnTo>
                    <a:lnTo>
                      <a:pt x="507" y="534"/>
                    </a:lnTo>
                    <a:lnTo>
                      <a:pt x="514" y="528"/>
                    </a:lnTo>
                    <a:lnTo>
                      <a:pt x="521" y="522"/>
                    </a:lnTo>
                    <a:lnTo>
                      <a:pt x="527" y="516"/>
                    </a:lnTo>
                    <a:lnTo>
                      <a:pt x="532" y="508"/>
                    </a:lnTo>
                    <a:lnTo>
                      <a:pt x="537" y="501"/>
                    </a:lnTo>
                    <a:lnTo>
                      <a:pt x="541" y="492"/>
                    </a:lnTo>
                    <a:lnTo>
                      <a:pt x="545" y="484"/>
                    </a:lnTo>
                    <a:lnTo>
                      <a:pt x="547" y="475"/>
                    </a:lnTo>
                    <a:lnTo>
                      <a:pt x="548" y="465"/>
                    </a:lnTo>
                    <a:lnTo>
                      <a:pt x="548" y="455"/>
                    </a:lnTo>
                    <a:lnTo>
                      <a:pt x="548" y="154"/>
                    </a:lnTo>
                    <a:lnTo>
                      <a:pt x="548" y="145"/>
                    </a:lnTo>
                    <a:lnTo>
                      <a:pt x="547" y="135"/>
                    </a:lnTo>
                    <a:lnTo>
                      <a:pt x="545" y="126"/>
                    </a:lnTo>
                    <a:lnTo>
                      <a:pt x="541" y="118"/>
                    </a:lnTo>
                    <a:lnTo>
                      <a:pt x="537" y="110"/>
                    </a:lnTo>
                    <a:lnTo>
                      <a:pt x="532" y="102"/>
                    </a:lnTo>
                    <a:lnTo>
                      <a:pt x="527" y="94"/>
                    </a:lnTo>
                    <a:lnTo>
                      <a:pt x="521" y="88"/>
                    </a:lnTo>
                    <a:lnTo>
                      <a:pt x="521" y="87"/>
                    </a:lnTo>
                    <a:lnTo>
                      <a:pt x="514" y="81"/>
                    </a:lnTo>
                    <a:lnTo>
                      <a:pt x="507" y="76"/>
                    </a:lnTo>
                    <a:lnTo>
                      <a:pt x="499" y="71"/>
                    </a:lnTo>
                    <a:lnTo>
                      <a:pt x="491" y="68"/>
                    </a:lnTo>
                    <a:lnTo>
                      <a:pt x="482" y="64"/>
                    </a:lnTo>
                    <a:lnTo>
                      <a:pt x="473" y="62"/>
                    </a:lnTo>
                    <a:lnTo>
                      <a:pt x="464" y="61"/>
                    </a:lnTo>
                    <a:lnTo>
                      <a:pt x="454" y="60"/>
                    </a:lnTo>
                    <a:close/>
                  </a:path>
                </a:pathLst>
              </a:custGeom>
              <a:gradFill flip="none" rotWithShape="1">
                <a:gsLst>
                  <a:gs pos="46000">
                    <a:srgbClr val="FFFFFF"/>
                  </a:gs>
                  <a:gs pos="56000">
                    <a:schemeClr val="bg1">
                      <a:alpha val="45000"/>
                    </a:schemeClr>
                  </a:gs>
                  <a:gs pos="100000">
                    <a:srgbClr val="FFFFFF"/>
                  </a:gs>
                  <a:gs pos="0">
                    <a:schemeClr val="bg1">
                      <a:alpha val="97000"/>
                    </a:schemeClr>
                  </a:gs>
                </a:gsLst>
                <a:lin ang="189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32" name="Freeform 42"/>
              <p:cNvSpPr>
                <a:spLocks/>
              </p:cNvSpPr>
              <p:nvPr/>
            </p:nvSpPr>
            <p:spPr bwMode="auto">
              <a:xfrm>
                <a:off x="5940539" y="5287836"/>
                <a:ext cx="371944" cy="178479"/>
              </a:xfrm>
              <a:custGeom>
                <a:avLst/>
                <a:gdLst>
                  <a:gd name="T0" fmla="*/ 1635 w 1638"/>
                  <a:gd name="T1" fmla="*/ 43 h 786"/>
                  <a:gd name="T2" fmla="*/ 1625 w 1638"/>
                  <a:gd name="T3" fmla="*/ 122 h 786"/>
                  <a:gd name="T4" fmla="*/ 1605 w 1638"/>
                  <a:gd name="T5" fmla="*/ 199 h 786"/>
                  <a:gd name="T6" fmla="*/ 1580 w 1638"/>
                  <a:gd name="T7" fmla="*/ 273 h 786"/>
                  <a:gd name="T8" fmla="*/ 1547 w 1638"/>
                  <a:gd name="T9" fmla="*/ 344 h 786"/>
                  <a:gd name="T10" fmla="*/ 1508 w 1638"/>
                  <a:gd name="T11" fmla="*/ 410 h 786"/>
                  <a:gd name="T12" fmla="*/ 1464 w 1638"/>
                  <a:gd name="T13" fmla="*/ 473 h 786"/>
                  <a:gd name="T14" fmla="*/ 1414 w 1638"/>
                  <a:gd name="T15" fmla="*/ 531 h 786"/>
                  <a:gd name="T16" fmla="*/ 1359 w 1638"/>
                  <a:gd name="T17" fmla="*/ 584 h 786"/>
                  <a:gd name="T18" fmla="*/ 1298 w 1638"/>
                  <a:gd name="T19" fmla="*/ 631 h 786"/>
                  <a:gd name="T20" fmla="*/ 1235 w 1638"/>
                  <a:gd name="T21" fmla="*/ 674 h 786"/>
                  <a:gd name="T22" fmla="*/ 1166 w 1638"/>
                  <a:gd name="T23" fmla="*/ 710 h 786"/>
                  <a:gd name="T24" fmla="*/ 1094 w 1638"/>
                  <a:gd name="T25" fmla="*/ 740 h 786"/>
                  <a:gd name="T26" fmla="*/ 1019 w 1638"/>
                  <a:gd name="T27" fmla="*/ 763 h 786"/>
                  <a:gd name="T28" fmla="*/ 940 w 1638"/>
                  <a:gd name="T29" fmla="*/ 777 h 786"/>
                  <a:gd name="T30" fmla="*/ 861 w 1638"/>
                  <a:gd name="T31" fmla="*/ 785 h 786"/>
                  <a:gd name="T32" fmla="*/ 778 w 1638"/>
                  <a:gd name="T33" fmla="*/ 785 h 786"/>
                  <a:gd name="T34" fmla="*/ 697 w 1638"/>
                  <a:gd name="T35" fmla="*/ 777 h 786"/>
                  <a:gd name="T36" fmla="*/ 619 w 1638"/>
                  <a:gd name="T37" fmla="*/ 763 h 786"/>
                  <a:gd name="T38" fmla="*/ 543 w 1638"/>
                  <a:gd name="T39" fmla="*/ 740 h 786"/>
                  <a:gd name="T40" fmla="*/ 472 w 1638"/>
                  <a:gd name="T41" fmla="*/ 710 h 786"/>
                  <a:gd name="T42" fmla="*/ 403 w 1638"/>
                  <a:gd name="T43" fmla="*/ 674 h 786"/>
                  <a:gd name="T44" fmla="*/ 338 w 1638"/>
                  <a:gd name="T45" fmla="*/ 631 h 786"/>
                  <a:gd name="T46" fmla="*/ 279 w 1638"/>
                  <a:gd name="T47" fmla="*/ 584 h 786"/>
                  <a:gd name="T48" fmla="*/ 223 w 1638"/>
                  <a:gd name="T49" fmla="*/ 530 h 786"/>
                  <a:gd name="T50" fmla="*/ 173 w 1638"/>
                  <a:gd name="T51" fmla="*/ 472 h 786"/>
                  <a:gd name="T52" fmla="*/ 128 w 1638"/>
                  <a:gd name="T53" fmla="*/ 409 h 786"/>
                  <a:gd name="T54" fmla="*/ 89 w 1638"/>
                  <a:gd name="T55" fmla="*/ 342 h 786"/>
                  <a:gd name="T56" fmla="*/ 58 w 1638"/>
                  <a:gd name="T57" fmla="*/ 271 h 786"/>
                  <a:gd name="T58" fmla="*/ 32 w 1638"/>
                  <a:gd name="T59" fmla="*/ 197 h 786"/>
                  <a:gd name="T60" fmla="*/ 14 w 1638"/>
                  <a:gd name="T61" fmla="*/ 120 h 786"/>
                  <a:gd name="T62" fmla="*/ 3 w 1638"/>
                  <a:gd name="T63" fmla="*/ 40 h 786"/>
                  <a:gd name="T64" fmla="*/ 48 w 1638"/>
                  <a:gd name="T65" fmla="*/ 6 h 786"/>
                  <a:gd name="T66" fmla="*/ 146 w 1638"/>
                  <a:gd name="T67" fmla="*/ 18 h 786"/>
                  <a:gd name="T68" fmla="*/ 246 w 1638"/>
                  <a:gd name="T69" fmla="*/ 28 h 786"/>
                  <a:gd name="T70" fmla="*/ 348 w 1638"/>
                  <a:gd name="T71" fmla="*/ 37 h 786"/>
                  <a:gd name="T72" fmla="*/ 452 w 1638"/>
                  <a:gd name="T73" fmla="*/ 44 h 786"/>
                  <a:gd name="T74" fmla="*/ 557 w 1638"/>
                  <a:gd name="T75" fmla="*/ 50 h 786"/>
                  <a:gd name="T76" fmla="*/ 664 w 1638"/>
                  <a:gd name="T77" fmla="*/ 53 h 786"/>
                  <a:gd name="T78" fmla="*/ 774 w 1638"/>
                  <a:gd name="T79" fmla="*/ 56 h 786"/>
                  <a:gd name="T80" fmla="*/ 882 w 1638"/>
                  <a:gd name="T81" fmla="*/ 56 h 786"/>
                  <a:gd name="T82" fmla="*/ 988 w 1638"/>
                  <a:gd name="T83" fmla="*/ 53 h 786"/>
                  <a:gd name="T84" fmla="*/ 1093 w 1638"/>
                  <a:gd name="T85" fmla="*/ 50 h 786"/>
                  <a:gd name="T86" fmla="*/ 1196 w 1638"/>
                  <a:gd name="T87" fmla="*/ 45 h 786"/>
                  <a:gd name="T88" fmla="*/ 1297 w 1638"/>
                  <a:gd name="T89" fmla="*/ 39 h 786"/>
                  <a:gd name="T90" fmla="*/ 1398 w 1638"/>
                  <a:gd name="T91" fmla="*/ 30 h 786"/>
                  <a:gd name="T92" fmla="*/ 1495 w 1638"/>
                  <a:gd name="T93" fmla="*/ 20 h 786"/>
                  <a:gd name="T94" fmla="*/ 1590 w 1638"/>
                  <a:gd name="T95" fmla="*/ 9 h 7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638" h="786">
                    <a:moveTo>
                      <a:pt x="1638" y="2"/>
                    </a:moveTo>
                    <a:lnTo>
                      <a:pt x="1635" y="43"/>
                    </a:lnTo>
                    <a:lnTo>
                      <a:pt x="1630" y="83"/>
                    </a:lnTo>
                    <a:lnTo>
                      <a:pt x="1625" y="122"/>
                    </a:lnTo>
                    <a:lnTo>
                      <a:pt x="1616" y="161"/>
                    </a:lnTo>
                    <a:lnTo>
                      <a:pt x="1605" y="199"/>
                    </a:lnTo>
                    <a:lnTo>
                      <a:pt x="1594" y="237"/>
                    </a:lnTo>
                    <a:lnTo>
                      <a:pt x="1580" y="273"/>
                    </a:lnTo>
                    <a:lnTo>
                      <a:pt x="1564" y="309"/>
                    </a:lnTo>
                    <a:lnTo>
                      <a:pt x="1547" y="344"/>
                    </a:lnTo>
                    <a:lnTo>
                      <a:pt x="1529" y="377"/>
                    </a:lnTo>
                    <a:lnTo>
                      <a:pt x="1508" y="410"/>
                    </a:lnTo>
                    <a:lnTo>
                      <a:pt x="1488" y="442"/>
                    </a:lnTo>
                    <a:lnTo>
                      <a:pt x="1464" y="473"/>
                    </a:lnTo>
                    <a:lnTo>
                      <a:pt x="1440" y="503"/>
                    </a:lnTo>
                    <a:lnTo>
                      <a:pt x="1414" y="531"/>
                    </a:lnTo>
                    <a:lnTo>
                      <a:pt x="1387" y="558"/>
                    </a:lnTo>
                    <a:lnTo>
                      <a:pt x="1359" y="584"/>
                    </a:lnTo>
                    <a:lnTo>
                      <a:pt x="1329" y="609"/>
                    </a:lnTo>
                    <a:lnTo>
                      <a:pt x="1298" y="631"/>
                    </a:lnTo>
                    <a:lnTo>
                      <a:pt x="1268" y="654"/>
                    </a:lnTo>
                    <a:lnTo>
                      <a:pt x="1235" y="674"/>
                    </a:lnTo>
                    <a:lnTo>
                      <a:pt x="1200" y="693"/>
                    </a:lnTo>
                    <a:lnTo>
                      <a:pt x="1166" y="710"/>
                    </a:lnTo>
                    <a:lnTo>
                      <a:pt x="1131" y="726"/>
                    </a:lnTo>
                    <a:lnTo>
                      <a:pt x="1094" y="740"/>
                    </a:lnTo>
                    <a:lnTo>
                      <a:pt x="1057" y="752"/>
                    </a:lnTo>
                    <a:lnTo>
                      <a:pt x="1019" y="763"/>
                    </a:lnTo>
                    <a:lnTo>
                      <a:pt x="980" y="771"/>
                    </a:lnTo>
                    <a:lnTo>
                      <a:pt x="940" y="777"/>
                    </a:lnTo>
                    <a:lnTo>
                      <a:pt x="900" y="783"/>
                    </a:lnTo>
                    <a:lnTo>
                      <a:pt x="861" y="785"/>
                    </a:lnTo>
                    <a:lnTo>
                      <a:pt x="819" y="786"/>
                    </a:lnTo>
                    <a:lnTo>
                      <a:pt x="778" y="785"/>
                    </a:lnTo>
                    <a:lnTo>
                      <a:pt x="737" y="783"/>
                    </a:lnTo>
                    <a:lnTo>
                      <a:pt x="697" y="777"/>
                    </a:lnTo>
                    <a:lnTo>
                      <a:pt x="657" y="771"/>
                    </a:lnTo>
                    <a:lnTo>
                      <a:pt x="619" y="763"/>
                    </a:lnTo>
                    <a:lnTo>
                      <a:pt x="581" y="752"/>
                    </a:lnTo>
                    <a:lnTo>
                      <a:pt x="543" y="740"/>
                    </a:lnTo>
                    <a:lnTo>
                      <a:pt x="507" y="725"/>
                    </a:lnTo>
                    <a:lnTo>
                      <a:pt x="472" y="710"/>
                    </a:lnTo>
                    <a:lnTo>
                      <a:pt x="436" y="693"/>
                    </a:lnTo>
                    <a:lnTo>
                      <a:pt x="403" y="674"/>
                    </a:lnTo>
                    <a:lnTo>
                      <a:pt x="370" y="653"/>
                    </a:lnTo>
                    <a:lnTo>
                      <a:pt x="338" y="631"/>
                    </a:lnTo>
                    <a:lnTo>
                      <a:pt x="308" y="607"/>
                    </a:lnTo>
                    <a:lnTo>
                      <a:pt x="279" y="584"/>
                    </a:lnTo>
                    <a:lnTo>
                      <a:pt x="250" y="557"/>
                    </a:lnTo>
                    <a:lnTo>
                      <a:pt x="223" y="530"/>
                    </a:lnTo>
                    <a:lnTo>
                      <a:pt x="198" y="501"/>
                    </a:lnTo>
                    <a:lnTo>
                      <a:pt x="173" y="472"/>
                    </a:lnTo>
                    <a:lnTo>
                      <a:pt x="150" y="441"/>
                    </a:lnTo>
                    <a:lnTo>
                      <a:pt x="128" y="409"/>
                    </a:lnTo>
                    <a:lnTo>
                      <a:pt x="109" y="376"/>
                    </a:lnTo>
                    <a:lnTo>
                      <a:pt x="89" y="342"/>
                    </a:lnTo>
                    <a:lnTo>
                      <a:pt x="73" y="308"/>
                    </a:lnTo>
                    <a:lnTo>
                      <a:pt x="58" y="271"/>
                    </a:lnTo>
                    <a:lnTo>
                      <a:pt x="44" y="235"/>
                    </a:lnTo>
                    <a:lnTo>
                      <a:pt x="32" y="197"/>
                    </a:lnTo>
                    <a:lnTo>
                      <a:pt x="22" y="159"/>
                    </a:lnTo>
                    <a:lnTo>
                      <a:pt x="14" y="120"/>
                    </a:lnTo>
                    <a:lnTo>
                      <a:pt x="7" y="81"/>
                    </a:lnTo>
                    <a:lnTo>
                      <a:pt x="3" y="40"/>
                    </a:lnTo>
                    <a:lnTo>
                      <a:pt x="0" y="0"/>
                    </a:lnTo>
                    <a:lnTo>
                      <a:pt x="48" y="6"/>
                    </a:lnTo>
                    <a:lnTo>
                      <a:pt x="96" y="12"/>
                    </a:lnTo>
                    <a:lnTo>
                      <a:pt x="146" y="18"/>
                    </a:lnTo>
                    <a:lnTo>
                      <a:pt x="196" y="24"/>
                    </a:lnTo>
                    <a:lnTo>
                      <a:pt x="246" y="28"/>
                    </a:lnTo>
                    <a:lnTo>
                      <a:pt x="297" y="33"/>
                    </a:lnTo>
                    <a:lnTo>
                      <a:pt x="348" y="37"/>
                    </a:lnTo>
                    <a:lnTo>
                      <a:pt x="400" y="41"/>
                    </a:lnTo>
                    <a:lnTo>
                      <a:pt x="452" y="44"/>
                    </a:lnTo>
                    <a:lnTo>
                      <a:pt x="505" y="48"/>
                    </a:lnTo>
                    <a:lnTo>
                      <a:pt x="557" y="50"/>
                    </a:lnTo>
                    <a:lnTo>
                      <a:pt x="611" y="52"/>
                    </a:lnTo>
                    <a:lnTo>
                      <a:pt x="664" y="53"/>
                    </a:lnTo>
                    <a:lnTo>
                      <a:pt x="719" y="55"/>
                    </a:lnTo>
                    <a:lnTo>
                      <a:pt x="774" y="56"/>
                    </a:lnTo>
                    <a:lnTo>
                      <a:pt x="829" y="56"/>
                    </a:lnTo>
                    <a:lnTo>
                      <a:pt x="882" y="56"/>
                    </a:lnTo>
                    <a:lnTo>
                      <a:pt x="936" y="55"/>
                    </a:lnTo>
                    <a:lnTo>
                      <a:pt x="988" y="53"/>
                    </a:lnTo>
                    <a:lnTo>
                      <a:pt x="1041" y="52"/>
                    </a:lnTo>
                    <a:lnTo>
                      <a:pt x="1093" y="50"/>
                    </a:lnTo>
                    <a:lnTo>
                      <a:pt x="1145" y="48"/>
                    </a:lnTo>
                    <a:lnTo>
                      <a:pt x="1196" y="45"/>
                    </a:lnTo>
                    <a:lnTo>
                      <a:pt x="1247" y="42"/>
                    </a:lnTo>
                    <a:lnTo>
                      <a:pt x="1297" y="39"/>
                    </a:lnTo>
                    <a:lnTo>
                      <a:pt x="1348" y="34"/>
                    </a:lnTo>
                    <a:lnTo>
                      <a:pt x="1398" y="30"/>
                    </a:lnTo>
                    <a:lnTo>
                      <a:pt x="1447" y="25"/>
                    </a:lnTo>
                    <a:lnTo>
                      <a:pt x="1495" y="20"/>
                    </a:lnTo>
                    <a:lnTo>
                      <a:pt x="1544" y="15"/>
                    </a:lnTo>
                    <a:lnTo>
                      <a:pt x="1590" y="9"/>
                    </a:lnTo>
                    <a:lnTo>
                      <a:pt x="1638" y="2"/>
                    </a:lnTo>
                    <a:close/>
                  </a:path>
                </a:pathLst>
              </a:custGeom>
              <a:gradFill>
                <a:gsLst>
                  <a:gs pos="100000">
                    <a:schemeClr val="bg1">
                      <a:alpha val="45000"/>
                    </a:schemeClr>
                  </a:gs>
                  <a:gs pos="0">
                    <a:schemeClr val="bg1">
                      <a:alpha val="20000"/>
                    </a:schemeClr>
                  </a:gs>
                </a:gsLst>
                <a:lin ang="5400000" scaled="1"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grpSp>
          <p:nvGrpSpPr>
            <p:cNvPr id="21" name="Group 20"/>
            <p:cNvGrpSpPr/>
            <p:nvPr/>
          </p:nvGrpSpPr>
          <p:grpSpPr>
            <a:xfrm>
              <a:off x="5301709" y="1855667"/>
              <a:ext cx="1229923" cy="3540185"/>
              <a:chOff x="3000179" y="211125"/>
              <a:chExt cx="1292141" cy="3719266"/>
            </a:xfrm>
          </p:grpSpPr>
          <p:sp>
            <p:nvSpPr>
              <p:cNvPr id="22" name="Freeform 26"/>
              <p:cNvSpPr>
                <a:spLocks/>
              </p:cNvSpPr>
              <p:nvPr/>
            </p:nvSpPr>
            <p:spPr bwMode="auto">
              <a:xfrm>
                <a:off x="3038276" y="211125"/>
                <a:ext cx="1254044" cy="3719266"/>
              </a:xfrm>
              <a:custGeom>
                <a:avLst/>
                <a:gdLst>
                  <a:gd name="T0" fmla="*/ 0 w 4741"/>
                  <a:gd name="T1" fmla="*/ 0 h 14059"/>
                  <a:gd name="T2" fmla="*/ 3656 w 4741"/>
                  <a:gd name="T3" fmla="*/ 0 h 14059"/>
                  <a:gd name="T4" fmla="*/ 3712 w 4741"/>
                  <a:gd name="T5" fmla="*/ 1 h 14059"/>
                  <a:gd name="T6" fmla="*/ 3767 w 4741"/>
                  <a:gd name="T7" fmla="*/ 4 h 14059"/>
                  <a:gd name="T8" fmla="*/ 3820 w 4741"/>
                  <a:gd name="T9" fmla="*/ 12 h 14059"/>
                  <a:gd name="T10" fmla="*/ 3874 w 4741"/>
                  <a:gd name="T11" fmla="*/ 22 h 14059"/>
                  <a:gd name="T12" fmla="*/ 3926 w 4741"/>
                  <a:gd name="T13" fmla="*/ 34 h 14059"/>
                  <a:gd name="T14" fmla="*/ 3978 w 4741"/>
                  <a:gd name="T15" fmla="*/ 49 h 14059"/>
                  <a:gd name="T16" fmla="*/ 4028 w 4741"/>
                  <a:gd name="T17" fmla="*/ 66 h 14059"/>
                  <a:gd name="T18" fmla="*/ 4077 w 4741"/>
                  <a:gd name="T19" fmla="*/ 85 h 14059"/>
                  <a:gd name="T20" fmla="*/ 4125 w 4741"/>
                  <a:gd name="T21" fmla="*/ 107 h 14059"/>
                  <a:gd name="T22" fmla="*/ 4172 w 4741"/>
                  <a:gd name="T23" fmla="*/ 131 h 14059"/>
                  <a:gd name="T24" fmla="*/ 4217 w 4741"/>
                  <a:gd name="T25" fmla="*/ 157 h 14059"/>
                  <a:gd name="T26" fmla="*/ 4262 w 4741"/>
                  <a:gd name="T27" fmla="*/ 186 h 14059"/>
                  <a:gd name="T28" fmla="*/ 4304 w 4741"/>
                  <a:gd name="T29" fmla="*/ 215 h 14059"/>
                  <a:gd name="T30" fmla="*/ 4345 w 4741"/>
                  <a:gd name="T31" fmla="*/ 247 h 14059"/>
                  <a:gd name="T32" fmla="*/ 4385 w 4741"/>
                  <a:gd name="T33" fmla="*/ 281 h 14059"/>
                  <a:gd name="T34" fmla="*/ 4422 w 4741"/>
                  <a:gd name="T35" fmla="*/ 318 h 14059"/>
                  <a:gd name="T36" fmla="*/ 4458 w 4741"/>
                  <a:gd name="T37" fmla="*/ 356 h 14059"/>
                  <a:gd name="T38" fmla="*/ 4492 w 4741"/>
                  <a:gd name="T39" fmla="*/ 395 h 14059"/>
                  <a:gd name="T40" fmla="*/ 4525 w 4741"/>
                  <a:gd name="T41" fmla="*/ 436 h 14059"/>
                  <a:gd name="T42" fmla="*/ 4555 w 4741"/>
                  <a:gd name="T43" fmla="*/ 479 h 14059"/>
                  <a:gd name="T44" fmla="*/ 4583 w 4741"/>
                  <a:gd name="T45" fmla="*/ 523 h 14059"/>
                  <a:gd name="T46" fmla="*/ 4609 w 4741"/>
                  <a:gd name="T47" fmla="*/ 568 h 14059"/>
                  <a:gd name="T48" fmla="*/ 4633 w 4741"/>
                  <a:gd name="T49" fmla="*/ 614 h 14059"/>
                  <a:gd name="T50" fmla="*/ 4655 w 4741"/>
                  <a:gd name="T51" fmla="*/ 662 h 14059"/>
                  <a:gd name="T52" fmla="*/ 4675 w 4741"/>
                  <a:gd name="T53" fmla="*/ 712 h 14059"/>
                  <a:gd name="T54" fmla="*/ 4692 w 4741"/>
                  <a:gd name="T55" fmla="*/ 763 h 14059"/>
                  <a:gd name="T56" fmla="*/ 4706 w 4741"/>
                  <a:gd name="T57" fmla="*/ 814 h 14059"/>
                  <a:gd name="T58" fmla="*/ 4719 w 4741"/>
                  <a:gd name="T59" fmla="*/ 866 h 14059"/>
                  <a:gd name="T60" fmla="*/ 4728 w 4741"/>
                  <a:gd name="T61" fmla="*/ 919 h 14059"/>
                  <a:gd name="T62" fmla="*/ 4735 w 4741"/>
                  <a:gd name="T63" fmla="*/ 973 h 14059"/>
                  <a:gd name="T64" fmla="*/ 4740 w 4741"/>
                  <a:gd name="T65" fmla="*/ 1028 h 14059"/>
                  <a:gd name="T66" fmla="*/ 4741 w 4741"/>
                  <a:gd name="T67" fmla="*/ 1084 h 14059"/>
                  <a:gd name="T68" fmla="*/ 4741 w 4741"/>
                  <a:gd name="T69" fmla="*/ 14059 h 14059"/>
                  <a:gd name="T70" fmla="*/ 0 w 4741"/>
                  <a:gd name="T71" fmla="*/ 0 h 140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41" h="14059">
                    <a:moveTo>
                      <a:pt x="0" y="0"/>
                    </a:moveTo>
                    <a:lnTo>
                      <a:pt x="3656" y="0"/>
                    </a:lnTo>
                    <a:lnTo>
                      <a:pt x="3712" y="1"/>
                    </a:lnTo>
                    <a:lnTo>
                      <a:pt x="3767" y="4"/>
                    </a:lnTo>
                    <a:lnTo>
                      <a:pt x="3820" y="12"/>
                    </a:lnTo>
                    <a:lnTo>
                      <a:pt x="3874" y="22"/>
                    </a:lnTo>
                    <a:lnTo>
                      <a:pt x="3926" y="34"/>
                    </a:lnTo>
                    <a:lnTo>
                      <a:pt x="3978" y="49"/>
                    </a:lnTo>
                    <a:lnTo>
                      <a:pt x="4028" y="66"/>
                    </a:lnTo>
                    <a:lnTo>
                      <a:pt x="4077" y="85"/>
                    </a:lnTo>
                    <a:lnTo>
                      <a:pt x="4125" y="107"/>
                    </a:lnTo>
                    <a:lnTo>
                      <a:pt x="4172" y="131"/>
                    </a:lnTo>
                    <a:lnTo>
                      <a:pt x="4217" y="157"/>
                    </a:lnTo>
                    <a:lnTo>
                      <a:pt x="4262" y="186"/>
                    </a:lnTo>
                    <a:lnTo>
                      <a:pt x="4304" y="215"/>
                    </a:lnTo>
                    <a:lnTo>
                      <a:pt x="4345" y="247"/>
                    </a:lnTo>
                    <a:lnTo>
                      <a:pt x="4385" y="281"/>
                    </a:lnTo>
                    <a:lnTo>
                      <a:pt x="4422" y="318"/>
                    </a:lnTo>
                    <a:lnTo>
                      <a:pt x="4458" y="356"/>
                    </a:lnTo>
                    <a:lnTo>
                      <a:pt x="4492" y="395"/>
                    </a:lnTo>
                    <a:lnTo>
                      <a:pt x="4525" y="436"/>
                    </a:lnTo>
                    <a:lnTo>
                      <a:pt x="4555" y="479"/>
                    </a:lnTo>
                    <a:lnTo>
                      <a:pt x="4583" y="523"/>
                    </a:lnTo>
                    <a:lnTo>
                      <a:pt x="4609" y="568"/>
                    </a:lnTo>
                    <a:lnTo>
                      <a:pt x="4633" y="614"/>
                    </a:lnTo>
                    <a:lnTo>
                      <a:pt x="4655" y="662"/>
                    </a:lnTo>
                    <a:lnTo>
                      <a:pt x="4675" y="712"/>
                    </a:lnTo>
                    <a:lnTo>
                      <a:pt x="4692" y="763"/>
                    </a:lnTo>
                    <a:lnTo>
                      <a:pt x="4706" y="814"/>
                    </a:lnTo>
                    <a:lnTo>
                      <a:pt x="4719" y="866"/>
                    </a:lnTo>
                    <a:lnTo>
                      <a:pt x="4728" y="919"/>
                    </a:lnTo>
                    <a:lnTo>
                      <a:pt x="4735" y="973"/>
                    </a:lnTo>
                    <a:lnTo>
                      <a:pt x="4740" y="1028"/>
                    </a:lnTo>
                    <a:lnTo>
                      <a:pt x="4741" y="1084"/>
                    </a:lnTo>
                    <a:lnTo>
                      <a:pt x="4741" y="14059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65000">
                    <a:schemeClr val="bg1">
                      <a:alpha val="0"/>
                    </a:schemeClr>
                  </a:gs>
                  <a:gs pos="0">
                    <a:schemeClr val="bg1">
                      <a:alpha val="50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Freeform 27"/>
              <p:cNvSpPr>
                <a:spLocks/>
              </p:cNvSpPr>
              <p:nvPr/>
            </p:nvSpPr>
            <p:spPr bwMode="auto">
              <a:xfrm>
                <a:off x="3000179" y="531778"/>
                <a:ext cx="430185" cy="88894"/>
              </a:xfrm>
              <a:custGeom>
                <a:avLst/>
                <a:gdLst>
                  <a:gd name="T0" fmla="*/ 1456 w 1626"/>
                  <a:gd name="T1" fmla="*/ 0 h 338"/>
                  <a:gd name="T2" fmla="*/ 1490 w 1626"/>
                  <a:gd name="T3" fmla="*/ 3 h 338"/>
                  <a:gd name="T4" fmla="*/ 1522 w 1626"/>
                  <a:gd name="T5" fmla="*/ 12 h 338"/>
                  <a:gd name="T6" fmla="*/ 1550 w 1626"/>
                  <a:gd name="T7" fmla="*/ 28 h 338"/>
                  <a:gd name="T8" fmla="*/ 1576 w 1626"/>
                  <a:gd name="T9" fmla="*/ 49 h 338"/>
                  <a:gd name="T10" fmla="*/ 1597 w 1626"/>
                  <a:gd name="T11" fmla="*/ 74 h 338"/>
                  <a:gd name="T12" fmla="*/ 1612 w 1626"/>
                  <a:gd name="T13" fmla="*/ 104 h 338"/>
                  <a:gd name="T14" fmla="*/ 1622 w 1626"/>
                  <a:gd name="T15" fmla="*/ 135 h 338"/>
                  <a:gd name="T16" fmla="*/ 1626 w 1626"/>
                  <a:gd name="T17" fmla="*/ 169 h 338"/>
                  <a:gd name="T18" fmla="*/ 1625 w 1626"/>
                  <a:gd name="T19" fmla="*/ 187 h 338"/>
                  <a:gd name="T20" fmla="*/ 1618 w 1626"/>
                  <a:gd name="T21" fmla="*/ 220 h 338"/>
                  <a:gd name="T22" fmla="*/ 1605 w 1626"/>
                  <a:gd name="T23" fmla="*/ 249 h 338"/>
                  <a:gd name="T24" fmla="*/ 1587 w 1626"/>
                  <a:gd name="T25" fmla="*/ 277 h 338"/>
                  <a:gd name="T26" fmla="*/ 1564 w 1626"/>
                  <a:gd name="T27" fmla="*/ 300 h 338"/>
                  <a:gd name="T28" fmla="*/ 1537 w 1626"/>
                  <a:gd name="T29" fmla="*/ 318 h 338"/>
                  <a:gd name="T30" fmla="*/ 1506 w 1626"/>
                  <a:gd name="T31" fmla="*/ 330 h 338"/>
                  <a:gd name="T32" fmla="*/ 1474 w 1626"/>
                  <a:gd name="T33" fmla="*/ 337 h 338"/>
                  <a:gd name="T34" fmla="*/ 170 w 1626"/>
                  <a:gd name="T35" fmla="*/ 338 h 338"/>
                  <a:gd name="T36" fmla="*/ 136 w 1626"/>
                  <a:gd name="T37" fmla="*/ 335 h 338"/>
                  <a:gd name="T38" fmla="*/ 104 w 1626"/>
                  <a:gd name="T39" fmla="*/ 325 h 338"/>
                  <a:gd name="T40" fmla="*/ 76 w 1626"/>
                  <a:gd name="T41" fmla="*/ 310 h 338"/>
                  <a:gd name="T42" fmla="*/ 51 w 1626"/>
                  <a:gd name="T43" fmla="*/ 288 h 338"/>
                  <a:gd name="T44" fmla="*/ 30 w 1626"/>
                  <a:gd name="T45" fmla="*/ 263 h 338"/>
                  <a:gd name="T46" fmla="*/ 14 w 1626"/>
                  <a:gd name="T47" fmla="*/ 235 h 338"/>
                  <a:gd name="T48" fmla="*/ 4 w 1626"/>
                  <a:gd name="T49" fmla="*/ 203 h 338"/>
                  <a:gd name="T50" fmla="*/ 0 w 1626"/>
                  <a:gd name="T51" fmla="*/ 169 h 338"/>
                  <a:gd name="T52" fmla="*/ 1 w 1626"/>
                  <a:gd name="T53" fmla="*/ 151 h 338"/>
                  <a:gd name="T54" fmla="*/ 8 w 1626"/>
                  <a:gd name="T55" fmla="*/ 118 h 338"/>
                  <a:gd name="T56" fmla="*/ 21 w 1626"/>
                  <a:gd name="T57" fmla="*/ 89 h 338"/>
                  <a:gd name="T58" fmla="*/ 39 w 1626"/>
                  <a:gd name="T59" fmla="*/ 61 h 338"/>
                  <a:gd name="T60" fmla="*/ 62 w 1626"/>
                  <a:gd name="T61" fmla="*/ 39 h 338"/>
                  <a:gd name="T62" fmla="*/ 89 w 1626"/>
                  <a:gd name="T63" fmla="*/ 20 h 338"/>
                  <a:gd name="T64" fmla="*/ 120 w 1626"/>
                  <a:gd name="T65" fmla="*/ 7 h 338"/>
                  <a:gd name="T66" fmla="*/ 153 w 1626"/>
                  <a:gd name="T67" fmla="*/ 1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626" h="338">
                    <a:moveTo>
                      <a:pt x="170" y="0"/>
                    </a:moveTo>
                    <a:lnTo>
                      <a:pt x="1456" y="0"/>
                    </a:lnTo>
                    <a:lnTo>
                      <a:pt x="1474" y="1"/>
                    </a:lnTo>
                    <a:lnTo>
                      <a:pt x="1490" y="3"/>
                    </a:lnTo>
                    <a:lnTo>
                      <a:pt x="1506" y="7"/>
                    </a:lnTo>
                    <a:lnTo>
                      <a:pt x="1522" y="12"/>
                    </a:lnTo>
                    <a:lnTo>
                      <a:pt x="1537" y="20"/>
                    </a:lnTo>
                    <a:lnTo>
                      <a:pt x="1550" y="28"/>
                    </a:lnTo>
                    <a:lnTo>
                      <a:pt x="1564" y="39"/>
                    </a:lnTo>
                    <a:lnTo>
                      <a:pt x="1576" y="49"/>
                    </a:lnTo>
                    <a:lnTo>
                      <a:pt x="1587" y="61"/>
                    </a:lnTo>
                    <a:lnTo>
                      <a:pt x="1597" y="74"/>
                    </a:lnTo>
                    <a:lnTo>
                      <a:pt x="1605" y="89"/>
                    </a:lnTo>
                    <a:lnTo>
                      <a:pt x="1612" y="104"/>
                    </a:lnTo>
                    <a:lnTo>
                      <a:pt x="1618" y="118"/>
                    </a:lnTo>
                    <a:lnTo>
                      <a:pt x="1622" y="135"/>
                    </a:lnTo>
                    <a:lnTo>
                      <a:pt x="1625" y="151"/>
                    </a:lnTo>
                    <a:lnTo>
                      <a:pt x="1626" y="169"/>
                    </a:lnTo>
                    <a:lnTo>
                      <a:pt x="1626" y="169"/>
                    </a:lnTo>
                    <a:lnTo>
                      <a:pt x="1625" y="187"/>
                    </a:lnTo>
                    <a:lnTo>
                      <a:pt x="1622" y="203"/>
                    </a:lnTo>
                    <a:lnTo>
                      <a:pt x="1618" y="220"/>
                    </a:lnTo>
                    <a:lnTo>
                      <a:pt x="1612" y="235"/>
                    </a:lnTo>
                    <a:lnTo>
                      <a:pt x="1605" y="249"/>
                    </a:lnTo>
                    <a:lnTo>
                      <a:pt x="1597" y="263"/>
                    </a:lnTo>
                    <a:lnTo>
                      <a:pt x="1587" y="277"/>
                    </a:lnTo>
                    <a:lnTo>
                      <a:pt x="1576" y="288"/>
                    </a:lnTo>
                    <a:lnTo>
                      <a:pt x="1564" y="300"/>
                    </a:lnTo>
                    <a:lnTo>
                      <a:pt x="1550" y="310"/>
                    </a:lnTo>
                    <a:lnTo>
                      <a:pt x="1537" y="318"/>
                    </a:lnTo>
                    <a:lnTo>
                      <a:pt x="1522" y="325"/>
                    </a:lnTo>
                    <a:lnTo>
                      <a:pt x="1506" y="330"/>
                    </a:lnTo>
                    <a:lnTo>
                      <a:pt x="1490" y="335"/>
                    </a:lnTo>
                    <a:lnTo>
                      <a:pt x="1474" y="337"/>
                    </a:lnTo>
                    <a:lnTo>
                      <a:pt x="1456" y="338"/>
                    </a:lnTo>
                    <a:lnTo>
                      <a:pt x="170" y="338"/>
                    </a:lnTo>
                    <a:lnTo>
                      <a:pt x="153" y="337"/>
                    </a:lnTo>
                    <a:lnTo>
                      <a:pt x="136" y="335"/>
                    </a:lnTo>
                    <a:lnTo>
                      <a:pt x="120" y="330"/>
                    </a:lnTo>
                    <a:lnTo>
                      <a:pt x="104" y="325"/>
                    </a:lnTo>
                    <a:lnTo>
                      <a:pt x="89" y="318"/>
                    </a:lnTo>
                    <a:lnTo>
                      <a:pt x="76" y="310"/>
                    </a:lnTo>
                    <a:lnTo>
                      <a:pt x="62" y="300"/>
                    </a:lnTo>
                    <a:lnTo>
                      <a:pt x="51" y="288"/>
                    </a:lnTo>
                    <a:lnTo>
                      <a:pt x="39" y="277"/>
                    </a:lnTo>
                    <a:lnTo>
                      <a:pt x="30" y="263"/>
                    </a:lnTo>
                    <a:lnTo>
                      <a:pt x="21" y="249"/>
                    </a:lnTo>
                    <a:lnTo>
                      <a:pt x="14" y="235"/>
                    </a:lnTo>
                    <a:lnTo>
                      <a:pt x="8" y="220"/>
                    </a:lnTo>
                    <a:lnTo>
                      <a:pt x="4" y="203"/>
                    </a:lnTo>
                    <a:lnTo>
                      <a:pt x="1" y="187"/>
                    </a:lnTo>
                    <a:lnTo>
                      <a:pt x="0" y="169"/>
                    </a:lnTo>
                    <a:lnTo>
                      <a:pt x="0" y="169"/>
                    </a:lnTo>
                    <a:lnTo>
                      <a:pt x="1" y="151"/>
                    </a:lnTo>
                    <a:lnTo>
                      <a:pt x="4" y="135"/>
                    </a:lnTo>
                    <a:lnTo>
                      <a:pt x="8" y="118"/>
                    </a:lnTo>
                    <a:lnTo>
                      <a:pt x="14" y="104"/>
                    </a:lnTo>
                    <a:lnTo>
                      <a:pt x="21" y="89"/>
                    </a:lnTo>
                    <a:lnTo>
                      <a:pt x="30" y="74"/>
                    </a:lnTo>
                    <a:lnTo>
                      <a:pt x="39" y="61"/>
                    </a:lnTo>
                    <a:lnTo>
                      <a:pt x="51" y="49"/>
                    </a:lnTo>
                    <a:lnTo>
                      <a:pt x="62" y="39"/>
                    </a:lnTo>
                    <a:lnTo>
                      <a:pt x="76" y="28"/>
                    </a:lnTo>
                    <a:lnTo>
                      <a:pt x="89" y="20"/>
                    </a:lnTo>
                    <a:lnTo>
                      <a:pt x="104" y="12"/>
                    </a:lnTo>
                    <a:lnTo>
                      <a:pt x="120" y="7"/>
                    </a:lnTo>
                    <a:lnTo>
                      <a:pt x="136" y="3"/>
                    </a:lnTo>
                    <a:lnTo>
                      <a:pt x="153" y="1"/>
                    </a:lnTo>
                    <a:lnTo>
                      <a:pt x="170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060606"/>
                  </a:gs>
                  <a:gs pos="62000">
                    <a:srgbClr val="3C3C3C"/>
                  </a:gs>
                  <a:gs pos="45000">
                    <a:schemeClr val="tx1">
                      <a:lumMod val="75000"/>
                      <a:lumOff val="25000"/>
                    </a:schemeClr>
                  </a:gs>
                  <a:gs pos="0">
                    <a:schemeClr val="tx1"/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28"/>
              <p:cNvSpPr>
                <a:spLocks/>
              </p:cNvSpPr>
              <p:nvPr/>
            </p:nvSpPr>
            <p:spPr bwMode="auto">
              <a:xfrm>
                <a:off x="3025576" y="546063"/>
                <a:ext cx="379388" cy="52385"/>
              </a:xfrm>
              <a:custGeom>
                <a:avLst/>
                <a:gdLst>
                  <a:gd name="T0" fmla="*/ 1360 w 1434"/>
                  <a:gd name="T1" fmla="*/ 0 h 200"/>
                  <a:gd name="T2" fmla="*/ 1375 w 1434"/>
                  <a:gd name="T3" fmla="*/ 3 h 200"/>
                  <a:gd name="T4" fmla="*/ 1388 w 1434"/>
                  <a:gd name="T5" fmla="*/ 6 h 200"/>
                  <a:gd name="T6" fmla="*/ 1401 w 1434"/>
                  <a:gd name="T7" fmla="*/ 13 h 200"/>
                  <a:gd name="T8" fmla="*/ 1412 w 1434"/>
                  <a:gd name="T9" fmla="*/ 22 h 200"/>
                  <a:gd name="T10" fmla="*/ 1421 w 1434"/>
                  <a:gd name="T11" fmla="*/ 33 h 200"/>
                  <a:gd name="T12" fmla="*/ 1428 w 1434"/>
                  <a:gd name="T13" fmla="*/ 46 h 200"/>
                  <a:gd name="T14" fmla="*/ 1433 w 1434"/>
                  <a:gd name="T15" fmla="*/ 60 h 200"/>
                  <a:gd name="T16" fmla="*/ 1434 w 1434"/>
                  <a:gd name="T17" fmla="*/ 75 h 200"/>
                  <a:gd name="T18" fmla="*/ 1434 w 1434"/>
                  <a:gd name="T19" fmla="*/ 134 h 200"/>
                  <a:gd name="T20" fmla="*/ 1430 w 1434"/>
                  <a:gd name="T21" fmla="*/ 147 h 200"/>
                  <a:gd name="T22" fmla="*/ 1425 w 1434"/>
                  <a:gd name="T23" fmla="*/ 161 h 200"/>
                  <a:gd name="T24" fmla="*/ 1417 w 1434"/>
                  <a:gd name="T25" fmla="*/ 172 h 200"/>
                  <a:gd name="T26" fmla="*/ 1407 w 1434"/>
                  <a:gd name="T27" fmla="*/ 183 h 200"/>
                  <a:gd name="T28" fmla="*/ 1395 w 1434"/>
                  <a:gd name="T29" fmla="*/ 191 h 200"/>
                  <a:gd name="T30" fmla="*/ 1381 w 1434"/>
                  <a:gd name="T31" fmla="*/ 196 h 200"/>
                  <a:gd name="T32" fmla="*/ 1367 w 1434"/>
                  <a:gd name="T33" fmla="*/ 200 h 200"/>
                  <a:gd name="T34" fmla="*/ 75 w 1434"/>
                  <a:gd name="T35" fmla="*/ 200 h 200"/>
                  <a:gd name="T36" fmla="*/ 59 w 1434"/>
                  <a:gd name="T37" fmla="*/ 199 h 200"/>
                  <a:gd name="T38" fmla="*/ 46 w 1434"/>
                  <a:gd name="T39" fmla="*/ 194 h 200"/>
                  <a:gd name="T40" fmla="*/ 33 w 1434"/>
                  <a:gd name="T41" fmla="*/ 187 h 200"/>
                  <a:gd name="T42" fmla="*/ 22 w 1434"/>
                  <a:gd name="T43" fmla="*/ 178 h 200"/>
                  <a:gd name="T44" fmla="*/ 13 w 1434"/>
                  <a:gd name="T45" fmla="*/ 167 h 200"/>
                  <a:gd name="T46" fmla="*/ 6 w 1434"/>
                  <a:gd name="T47" fmla="*/ 154 h 200"/>
                  <a:gd name="T48" fmla="*/ 2 w 1434"/>
                  <a:gd name="T49" fmla="*/ 140 h 200"/>
                  <a:gd name="T50" fmla="*/ 0 w 1434"/>
                  <a:gd name="T51" fmla="*/ 126 h 200"/>
                  <a:gd name="T52" fmla="*/ 1 w 1434"/>
                  <a:gd name="T53" fmla="*/ 68 h 200"/>
                  <a:gd name="T54" fmla="*/ 4 w 1434"/>
                  <a:gd name="T55" fmla="*/ 53 h 200"/>
                  <a:gd name="T56" fmla="*/ 9 w 1434"/>
                  <a:gd name="T57" fmla="*/ 39 h 200"/>
                  <a:gd name="T58" fmla="*/ 17 w 1434"/>
                  <a:gd name="T59" fmla="*/ 28 h 200"/>
                  <a:gd name="T60" fmla="*/ 28 w 1434"/>
                  <a:gd name="T61" fmla="*/ 17 h 200"/>
                  <a:gd name="T62" fmla="*/ 40 w 1434"/>
                  <a:gd name="T63" fmla="*/ 9 h 200"/>
                  <a:gd name="T64" fmla="*/ 53 w 1434"/>
                  <a:gd name="T65" fmla="*/ 4 h 200"/>
                  <a:gd name="T66" fmla="*/ 67 w 1434"/>
                  <a:gd name="T67" fmla="*/ 1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34" h="200">
                    <a:moveTo>
                      <a:pt x="75" y="0"/>
                    </a:moveTo>
                    <a:lnTo>
                      <a:pt x="1360" y="0"/>
                    </a:lnTo>
                    <a:lnTo>
                      <a:pt x="1367" y="1"/>
                    </a:lnTo>
                    <a:lnTo>
                      <a:pt x="1375" y="3"/>
                    </a:lnTo>
                    <a:lnTo>
                      <a:pt x="1381" y="4"/>
                    </a:lnTo>
                    <a:lnTo>
                      <a:pt x="1388" y="6"/>
                    </a:lnTo>
                    <a:lnTo>
                      <a:pt x="1395" y="9"/>
                    </a:lnTo>
                    <a:lnTo>
                      <a:pt x="1401" y="13"/>
                    </a:lnTo>
                    <a:lnTo>
                      <a:pt x="1407" y="17"/>
                    </a:lnTo>
                    <a:lnTo>
                      <a:pt x="1412" y="22"/>
                    </a:lnTo>
                    <a:lnTo>
                      <a:pt x="1417" y="28"/>
                    </a:lnTo>
                    <a:lnTo>
                      <a:pt x="1421" y="33"/>
                    </a:lnTo>
                    <a:lnTo>
                      <a:pt x="1425" y="39"/>
                    </a:lnTo>
                    <a:lnTo>
                      <a:pt x="1428" y="46"/>
                    </a:lnTo>
                    <a:lnTo>
                      <a:pt x="1430" y="53"/>
                    </a:lnTo>
                    <a:lnTo>
                      <a:pt x="1433" y="60"/>
                    </a:lnTo>
                    <a:lnTo>
                      <a:pt x="1434" y="68"/>
                    </a:lnTo>
                    <a:lnTo>
                      <a:pt x="1434" y="75"/>
                    </a:lnTo>
                    <a:lnTo>
                      <a:pt x="1434" y="126"/>
                    </a:lnTo>
                    <a:lnTo>
                      <a:pt x="1434" y="134"/>
                    </a:lnTo>
                    <a:lnTo>
                      <a:pt x="1433" y="140"/>
                    </a:lnTo>
                    <a:lnTo>
                      <a:pt x="1430" y="147"/>
                    </a:lnTo>
                    <a:lnTo>
                      <a:pt x="1428" y="154"/>
                    </a:lnTo>
                    <a:lnTo>
                      <a:pt x="1425" y="161"/>
                    </a:lnTo>
                    <a:lnTo>
                      <a:pt x="1421" y="167"/>
                    </a:lnTo>
                    <a:lnTo>
                      <a:pt x="1417" y="172"/>
                    </a:lnTo>
                    <a:lnTo>
                      <a:pt x="1412" y="178"/>
                    </a:lnTo>
                    <a:lnTo>
                      <a:pt x="1407" y="183"/>
                    </a:lnTo>
                    <a:lnTo>
                      <a:pt x="1401" y="187"/>
                    </a:lnTo>
                    <a:lnTo>
                      <a:pt x="1395" y="191"/>
                    </a:lnTo>
                    <a:lnTo>
                      <a:pt x="1388" y="194"/>
                    </a:lnTo>
                    <a:lnTo>
                      <a:pt x="1381" y="196"/>
                    </a:lnTo>
                    <a:lnTo>
                      <a:pt x="1375" y="199"/>
                    </a:lnTo>
                    <a:lnTo>
                      <a:pt x="1367" y="200"/>
                    </a:lnTo>
                    <a:lnTo>
                      <a:pt x="1360" y="200"/>
                    </a:lnTo>
                    <a:lnTo>
                      <a:pt x="75" y="200"/>
                    </a:lnTo>
                    <a:lnTo>
                      <a:pt x="67" y="200"/>
                    </a:lnTo>
                    <a:lnTo>
                      <a:pt x="59" y="199"/>
                    </a:lnTo>
                    <a:lnTo>
                      <a:pt x="53" y="196"/>
                    </a:lnTo>
                    <a:lnTo>
                      <a:pt x="46" y="194"/>
                    </a:lnTo>
                    <a:lnTo>
                      <a:pt x="40" y="191"/>
                    </a:lnTo>
                    <a:lnTo>
                      <a:pt x="33" y="187"/>
                    </a:lnTo>
                    <a:lnTo>
                      <a:pt x="28" y="183"/>
                    </a:lnTo>
                    <a:lnTo>
                      <a:pt x="22" y="178"/>
                    </a:lnTo>
                    <a:lnTo>
                      <a:pt x="17" y="172"/>
                    </a:lnTo>
                    <a:lnTo>
                      <a:pt x="13" y="167"/>
                    </a:lnTo>
                    <a:lnTo>
                      <a:pt x="9" y="161"/>
                    </a:lnTo>
                    <a:lnTo>
                      <a:pt x="6" y="154"/>
                    </a:lnTo>
                    <a:lnTo>
                      <a:pt x="4" y="147"/>
                    </a:lnTo>
                    <a:lnTo>
                      <a:pt x="2" y="140"/>
                    </a:lnTo>
                    <a:lnTo>
                      <a:pt x="1" y="134"/>
                    </a:lnTo>
                    <a:lnTo>
                      <a:pt x="0" y="126"/>
                    </a:lnTo>
                    <a:lnTo>
                      <a:pt x="0" y="75"/>
                    </a:lnTo>
                    <a:lnTo>
                      <a:pt x="1" y="68"/>
                    </a:lnTo>
                    <a:lnTo>
                      <a:pt x="2" y="60"/>
                    </a:lnTo>
                    <a:lnTo>
                      <a:pt x="4" y="53"/>
                    </a:lnTo>
                    <a:lnTo>
                      <a:pt x="6" y="46"/>
                    </a:lnTo>
                    <a:lnTo>
                      <a:pt x="9" y="39"/>
                    </a:lnTo>
                    <a:lnTo>
                      <a:pt x="13" y="33"/>
                    </a:lnTo>
                    <a:lnTo>
                      <a:pt x="17" y="28"/>
                    </a:lnTo>
                    <a:lnTo>
                      <a:pt x="22" y="22"/>
                    </a:lnTo>
                    <a:lnTo>
                      <a:pt x="28" y="17"/>
                    </a:lnTo>
                    <a:lnTo>
                      <a:pt x="33" y="13"/>
                    </a:lnTo>
                    <a:lnTo>
                      <a:pt x="40" y="9"/>
                    </a:lnTo>
                    <a:lnTo>
                      <a:pt x="46" y="6"/>
                    </a:lnTo>
                    <a:lnTo>
                      <a:pt x="53" y="4"/>
                    </a:lnTo>
                    <a:lnTo>
                      <a:pt x="59" y="3"/>
                    </a:lnTo>
                    <a:lnTo>
                      <a:pt x="67" y="1"/>
                    </a:lnTo>
                    <a:lnTo>
                      <a:pt x="75" y="0"/>
                    </a:lnTo>
                    <a:close/>
                  </a:path>
                </a:pathLst>
              </a:custGeom>
              <a:pattFill prst="pct60">
                <a:fgClr>
                  <a:schemeClr val="tx1">
                    <a:lumMod val="65000"/>
                    <a:lumOff val="35000"/>
                  </a:schemeClr>
                </a:fgClr>
                <a:bgClr>
                  <a:schemeClr val="tx1">
                    <a:lumMod val="85000"/>
                    <a:lumOff val="15000"/>
                  </a:schemeClr>
                </a:bgClr>
              </a:patt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29"/>
              <p:cNvSpPr>
                <a:spLocks/>
              </p:cNvSpPr>
              <p:nvPr/>
            </p:nvSpPr>
            <p:spPr bwMode="auto">
              <a:xfrm>
                <a:off x="3173201" y="353990"/>
                <a:ext cx="92069" cy="90482"/>
              </a:xfrm>
              <a:custGeom>
                <a:avLst/>
                <a:gdLst>
                  <a:gd name="T0" fmla="*/ 189 w 345"/>
                  <a:gd name="T1" fmla="*/ 1 h 344"/>
                  <a:gd name="T2" fmla="*/ 224 w 345"/>
                  <a:gd name="T3" fmla="*/ 8 h 344"/>
                  <a:gd name="T4" fmla="*/ 254 w 345"/>
                  <a:gd name="T5" fmla="*/ 21 h 344"/>
                  <a:gd name="T6" fmla="*/ 282 w 345"/>
                  <a:gd name="T7" fmla="*/ 39 h 344"/>
                  <a:gd name="T8" fmla="*/ 305 w 345"/>
                  <a:gd name="T9" fmla="*/ 63 h 344"/>
                  <a:gd name="T10" fmla="*/ 324 w 345"/>
                  <a:gd name="T11" fmla="*/ 90 h 344"/>
                  <a:gd name="T12" fmla="*/ 337 w 345"/>
                  <a:gd name="T13" fmla="*/ 121 h 344"/>
                  <a:gd name="T14" fmla="*/ 343 w 345"/>
                  <a:gd name="T15" fmla="*/ 154 h 344"/>
                  <a:gd name="T16" fmla="*/ 343 w 345"/>
                  <a:gd name="T17" fmla="*/ 189 h 344"/>
                  <a:gd name="T18" fmla="*/ 337 w 345"/>
                  <a:gd name="T19" fmla="*/ 224 h 344"/>
                  <a:gd name="T20" fmla="*/ 324 w 345"/>
                  <a:gd name="T21" fmla="*/ 254 h 344"/>
                  <a:gd name="T22" fmla="*/ 305 w 345"/>
                  <a:gd name="T23" fmla="*/ 282 h 344"/>
                  <a:gd name="T24" fmla="*/ 282 w 345"/>
                  <a:gd name="T25" fmla="*/ 304 h 344"/>
                  <a:gd name="T26" fmla="*/ 254 w 345"/>
                  <a:gd name="T27" fmla="*/ 324 h 344"/>
                  <a:gd name="T28" fmla="*/ 224 w 345"/>
                  <a:gd name="T29" fmla="*/ 336 h 344"/>
                  <a:gd name="T30" fmla="*/ 189 w 345"/>
                  <a:gd name="T31" fmla="*/ 343 h 344"/>
                  <a:gd name="T32" fmla="*/ 155 w 345"/>
                  <a:gd name="T33" fmla="*/ 343 h 344"/>
                  <a:gd name="T34" fmla="*/ 121 w 345"/>
                  <a:gd name="T35" fmla="*/ 336 h 344"/>
                  <a:gd name="T36" fmla="*/ 90 w 345"/>
                  <a:gd name="T37" fmla="*/ 324 h 344"/>
                  <a:gd name="T38" fmla="*/ 63 w 345"/>
                  <a:gd name="T39" fmla="*/ 304 h 344"/>
                  <a:gd name="T40" fmla="*/ 39 w 345"/>
                  <a:gd name="T41" fmla="*/ 282 h 344"/>
                  <a:gd name="T42" fmla="*/ 21 w 345"/>
                  <a:gd name="T43" fmla="*/ 254 h 344"/>
                  <a:gd name="T44" fmla="*/ 8 w 345"/>
                  <a:gd name="T45" fmla="*/ 224 h 344"/>
                  <a:gd name="T46" fmla="*/ 1 w 345"/>
                  <a:gd name="T47" fmla="*/ 189 h 344"/>
                  <a:gd name="T48" fmla="*/ 1 w 345"/>
                  <a:gd name="T49" fmla="*/ 154 h 344"/>
                  <a:gd name="T50" fmla="*/ 8 w 345"/>
                  <a:gd name="T51" fmla="*/ 121 h 344"/>
                  <a:gd name="T52" fmla="*/ 21 w 345"/>
                  <a:gd name="T53" fmla="*/ 90 h 344"/>
                  <a:gd name="T54" fmla="*/ 39 w 345"/>
                  <a:gd name="T55" fmla="*/ 63 h 344"/>
                  <a:gd name="T56" fmla="*/ 63 w 345"/>
                  <a:gd name="T57" fmla="*/ 39 h 344"/>
                  <a:gd name="T58" fmla="*/ 90 w 345"/>
                  <a:gd name="T59" fmla="*/ 21 h 344"/>
                  <a:gd name="T60" fmla="*/ 121 w 345"/>
                  <a:gd name="T61" fmla="*/ 8 h 344"/>
                  <a:gd name="T62" fmla="*/ 155 w 345"/>
                  <a:gd name="T63" fmla="*/ 1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5" h="344">
                    <a:moveTo>
                      <a:pt x="172" y="0"/>
                    </a:moveTo>
                    <a:lnTo>
                      <a:pt x="189" y="1"/>
                    </a:lnTo>
                    <a:lnTo>
                      <a:pt x="207" y="3"/>
                    </a:lnTo>
                    <a:lnTo>
                      <a:pt x="224" y="8"/>
                    </a:lnTo>
                    <a:lnTo>
                      <a:pt x="240" y="14"/>
                    </a:lnTo>
                    <a:lnTo>
                      <a:pt x="254" y="21"/>
                    </a:lnTo>
                    <a:lnTo>
                      <a:pt x="268" y="30"/>
                    </a:lnTo>
                    <a:lnTo>
                      <a:pt x="282" y="39"/>
                    </a:lnTo>
                    <a:lnTo>
                      <a:pt x="294" y="50"/>
                    </a:lnTo>
                    <a:lnTo>
                      <a:pt x="305" y="63"/>
                    </a:lnTo>
                    <a:lnTo>
                      <a:pt x="315" y="75"/>
                    </a:lnTo>
                    <a:lnTo>
                      <a:pt x="324" y="90"/>
                    </a:lnTo>
                    <a:lnTo>
                      <a:pt x="331" y="105"/>
                    </a:lnTo>
                    <a:lnTo>
                      <a:pt x="337" y="121"/>
                    </a:lnTo>
                    <a:lnTo>
                      <a:pt x="341" y="137"/>
                    </a:lnTo>
                    <a:lnTo>
                      <a:pt x="343" y="154"/>
                    </a:lnTo>
                    <a:lnTo>
                      <a:pt x="345" y="172"/>
                    </a:lnTo>
                    <a:lnTo>
                      <a:pt x="343" y="189"/>
                    </a:lnTo>
                    <a:lnTo>
                      <a:pt x="341" y="206"/>
                    </a:lnTo>
                    <a:lnTo>
                      <a:pt x="337" y="224"/>
                    </a:lnTo>
                    <a:lnTo>
                      <a:pt x="331" y="239"/>
                    </a:lnTo>
                    <a:lnTo>
                      <a:pt x="324" y="254"/>
                    </a:lnTo>
                    <a:lnTo>
                      <a:pt x="315" y="268"/>
                    </a:lnTo>
                    <a:lnTo>
                      <a:pt x="305" y="282"/>
                    </a:lnTo>
                    <a:lnTo>
                      <a:pt x="294" y="294"/>
                    </a:lnTo>
                    <a:lnTo>
                      <a:pt x="282" y="304"/>
                    </a:lnTo>
                    <a:lnTo>
                      <a:pt x="268" y="315"/>
                    </a:lnTo>
                    <a:lnTo>
                      <a:pt x="254" y="324"/>
                    </a:lnTo>
                    <a:lnTo>
                      <a:pt x="240" y="331"/>
                    </a:lnTo>
                    <a:lnTo>
                      <a:pt x="224" y="336"/>
                    </a:lnTo>
                    <a:lnTo>
                      <a:pt x="207" y="341"/>
                    </a:lnTo>
                    <a:lnTo>
                      <a:pt x="189" y="343"/>
                    </a:lnTo>
                    <a:lnTo>
                      <a:pt x="172" y="344"/>
                    </a:lnTo>
                    <a:lnTo>
                      <a:pt x="155" y="343"/>
                    </a:lnTo>
                    <a:lnTo>
                      <a:pt x="138" y="341"/>
                    </a:lnTo>
                    <a:lnTo>
                      <a:pt x="121" y="336"/>
                    </a:lnTo>
                    <a:lnTo>
                      <a:pt x="105" y="331"/>
                    </a:lnTo>
                    <a:lnTo>
                      <a:pt x="90" y="324"/>
                    </a:lnTo>
                    <a:lnTo>
                      <a:pt x="76" y="315"/>
                    </a:lnTo>
                    <a:lnTo>
                      <a:pt x="63" y="304"/>
                    </a:lnTo>
                    <a:lnTo>
                      <a:pt x="50" y="294"/>
                    </a:lnTo>
                    <a:lnTo>
                      <a:pt x="39" y="282"/>
                    </a:lnTo>
                    <a:lnTo>
                      <a:pt x="30" y="268"/>
                    </a:lnTo>
                    <a:lnTo>
                      <a:pt x="21" y="254"/>
                    </a:lnTo>
                    <a:lnTo>
                      <a:pt x="14" y="239"/>
                    </a:lnTo>
                    <a:lnTo>
                      <a:pt x="8" y="224"/>
                    </a:lnTo>
                    <a:lnTo>
                      <a:pt x="3" y="206"/>
                    </a:lnTo>
                    <a:lnTo>
                      <a:pt x="1" y="189"/>
                    </a:lnTo>
                    <a:lnTo>
                      <a:pt x="0" y="172"/>
                    </a:lnTo>
                    <a:lnTo>
                      <a:pt x="1" y="154"/>
                    </a:lnTo>
                    <a:lnTo>
                      <a:pt x="3" y="137"/>
                    </a:lnTo>
                    <a:lnTo>
                      <a:pt x="8" y="121"/>
                    </a:lnTo>
                    <a:lnTo>
                      <a:pt x="14" y="105"/>
                    </a:lnTo>
                    <a:lnTo>
                      <a:pt x="21" y="90"/>
                    </a:lnTo>
                    <a:lnTo>
                      <a:pt x="30" y="75"/>
                    </a:lnTo>
                    <a:lnTo>
                      <a:pt x="39" y="63"/>
                    </a:lnTo>
                    <a:lnTo>
                      <a:pt x="50" y="50"/>
                    </a:lnTo>
                    <a:lnTo>
                      <a:pt x="63" y="39"/>
                    </a:lnTo>
                    <a:lnTo>
                      <a:pt x="76" y="30"/>
                    </a:lnTo>
                    <a:lnTo>
                      <a:pt x="90" y="21"/>
                    </a:lnTo>
                    <a:lnTo>
                      <a:pt x="105" y="14"/>
                    </a:lnTo>
                    <a:lnTo>
                      <a:pt x="121" y="8"/>
                    </a:lnTo>
                    <a:lnTo>
                      <a:pt x="138" y="3"/>
                    </a:lnTo>
                    <a:lnTo>
                      <a:pt x="155" y="1"/>
                    </a:lnTo>
                    <a:lnTo>
                      <a:pt x="172" y="0"/>
                    </a:lnTo>
                    <a:close/>
                  </a:path>
                </a:pathLst>
              </a:custGeom>
              <a:gradFill flip="none" rotWithShape="1">
                <a:gsLst>
                  <a:gs pos="65000">
                    <a:schemeClr val="tx1">
                      <a:lumMod val="75000"/>
                      <a:lumOff val="25000"/>
                    </a:schemeClr>
                  </a:gs>
                  <a:gs pos="0">
                    <a:schemeClr val="tx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30"/>
              <p:cNvSpPr>
                <a:spLocks/>
              </p:cNvSpPr>
              <p:nvPr/>
            </p:nvSpPr>
            <p:spPr bwMode="auto">
              <a:xfrm>
                <a:off x="3197034" y="376211"/>
                <a:ext cx="44447" cy="44447"/>
              </a:xfrm>
              <a:custGeom>
                <a:avLst/>
                <a:gdLst>
                  <a:gd name="T0" fmla="*/ 93 w 169"/>
                  <a:gd name="T1" fmla="*/ 0 h 169"/>
                  <a:gd name="T2" fmla="*/ 109 w 169"/>
                  <a:gd name="T3" fmla="*/ 3 h 169"/>
                  <a:gd name="T4" fmla="*/ 124 w 169"/>
                  <a:gd name="T5" fmla="*/ 10 h 169"/>
                  <a:gd name="T6" fmla="*/ 138 w 169"/>
                  <a:gd name="T7" fmla="*/ 19 h 169"/>
                  <a:gd name="T8" fmla="*/ 149 w 169"/>
                  <a:gd name="T9" fmla="*/ 31 h 169"/>
                  <a:gd name="T10" fmla="*/ 158 w 169"/>
                  <a:gd name="T11" fmla="*/ 43 h 169"/>
                  <a:gd name="T12" fmla="*/ 165 w 169"/>
                  <a:gd name="T13" fmla="*/ 59 h 169"/>
                  <a:gd name="T14" fmla="*/ 169 w 169"/>
                  <a:gd name="T15" fmla="*/ 75 h 169"/>
                  <a:gd name="T16" fmla="*/ 169 w 169"/>
                  <a:gd name="T17" fmla="*/ 92 h 169"/>
                  <a:gd name="T18" fmla="*/ 165 w 169"/>
                  <a:gd name="T19" fmla="*/ 109 h 169"/>
                  <a:gd name="T20" fmla="*/ 158 w 169"/>
                  <a:gd name="T21" fmla="*/ 124 h 169"/>
                  <a:gd name="T22" fmla="*/ 149 w 169"/>
                  <a:gd name="T23" fmla="*/ 138 h 169"/>
                  <a:gd name="T24" fmla="*/ 138 w 169"/>
                  <a:gd name="T25" fmla="*/ 149 h 169"/>
                  <a:gd name="T26" fmla="*/ 124 w 169"/>
                  <a:gd name="T27" fmla="*/ 158 h 169"/>
                  <a:gd name="T28" fmla="*/ 109 w 169"/>
                  <a:gd name="T29" fmla="*/ 165 h 169"/>
                  <a:gd name="T30" fmla="*/ 93 w 169"/>
                  <a:gd name="T31" fmla="*/ 169 h 169"/>
                  <a:gd name="T32" fmla="*/ 75 w 169"/>
                  <a:gd name="T33" fmla="*/ 169 h 169"/>
                  <a:gd name="T34" fmla="*/ 59 w 169"/>
                  <a:gd name="T35" fmla="*/ 165 h 169"/>
                  <a:gd name="T36" fmla="*/ 44 w 169"/>
                  <a:gd name="T37" fmla="*/ 158 h 169"/>
                  <a:gd name="T38" fmla="*/ 31 w 169"/>
                  <a:gd name="T39" fmla="*/ 149 h 169"/>
                  <a:gd name="T40" fmla="*/ 19 w 169"/>
                  <a:gd name="T41" fmla="*/ 138 h 169"/>
                  <a:gd name="T42" fmla="*/ 10 w 169"/>
                  <a:gd name="T43" fmla="*/ 124 h 169"/>
                  <a:gd name="T44" fmla="*/ 3 w 169"/>
                  <a:gd name="T45" fmla="*/ 109 h 169"/>
                  <a:gd name="T46" fmla="*/ 0 w 169"/>
                  <a:gd name="T47" fmla="*/ 92 h 169"/>
                  <a:gd name="T48" fmla="*/ 0 w 169"/>
                  <a:gd name="T49" fmla="*/ 75 h 169"/>
                  <a:gd name="T50" fmla="*/ 3 w 169"/>
                  <a:gd name="T51" fmla="*/ 59 h 169"/>
                  <a:gd name="T52" fmla="*/ 10 w 169"/>
                  <a:gd name="T53" fmla="*/ 43 h 169"/>
                  <a:gd name="T54" fmla="*/ 19 w 169"/>
                  <a:gd name="T55" fmla="*/ 31 h 169"/>
                  <a:gd name="T56" fmla="*/ 31 w 169"/>
                  <a:gd name="T57" fmla="*/ 19 h 169"/>
                  <a:gd name="T58" fmla="*/ 44 w 169"/>
                  <a:gd name="T59" fmla="*/ 10 h 169"/>
                  <a:gd name="T60" fmla="*/ 59 w 169"/>
                  <a:gd name="T61" fmla="*/ 3 h 169"/>
                  <a:gd name="T62" fmla="*/ 75 w 169"/>
                  <a:gd name="T63" fmla="*/ 0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9" h="169">
                    <a:moveTo>
                      <a:pt x="84" y="0"/>
                    </a:moveTo>
                    <a:lnTo>
                      <a:pt x="93" y="0"/>
                    </a:lnTo>
                    <a:lnTo>
                      <a:pt x="101" y="1"/>
                    </a:lnTo>
                    <a:lnTo>
                      <a:pt x="109" y="3"/>
                    </a:lnTo>
                    <a:lnTo>
                      <a:pt x="117" y="6"/>
                    </a:lnTo>
                    <a:lnTo>
                      <a:pt x="124" y="10"/>
                    </a:lnTo>
                    <a:lnTo>
                      <a:pt x="132" y="14"/>
                    </a:lnTo>
                    <a:lnTo>
                      <a:pt x="138" y="19"/>
                    </a:lnTo>
                    <a:lnTo>
                      <a:pt x="145" y="24"/>
                    </a:lnTo>
                    <a:lnTo>
                      <a:pt x="149" y="31"/>
                    </a:lnTo>
                    <a:lnTo>
                      <a:pt x="155" y="36"/>
                    </a:lnTo>
                    <a:lnTo>
                      <a:pt x="158" y="43"/>
                    </a:lnTo>
                    <a:lnTo>
                      <a:pt x="162" y="51"/>
                    </a:lnTo>
                    <a:lnTo>
                      <a:pt x="165" y="59"/>
                    </a:lnTo>
                    <a:lnTo>
                      <a:pt x="168" y="67"/>
                    </a:lnTo>
                    <a:lnTo>
                      <a:pt x="169" y="75"/>
                    </a:lnTo>
                    <a:lnTo>
                      <a:pt x="169" y="84"/>
                    </a:lnTo>
                    <a:lnTo>
                      <a:pt x="169" y="92"/>
                    </a:lnTo>
                    <a:lnTo>
                      <a:pt x="168" y="101"/>
                    </a:lnTo>
                    <a:lnTo>
                      <a:pt x="165" y="109"/>
                    </a:lnTo>
                    <a:lnTo>
                      <a:pt x="162" y="117"/>
                    </a:lnTo>
                    <a:lnTo>
                      <a:pt x="158" y="124"/>
                    </a:lnTo>
                    <a:lnTo>
                      <a:pt x="155" y="131"/>
                    </a:lnTo>
                    <a:lnTo>
                      <a:pt x="149" y="138"/>
                    </a:lnTo>
                    <a:lnTo>
                      <a:pt x="145" y="143"/>
                    </a:lnTo>
                    <a:lnTo>
                      <a:pt x="138" y="149"/>
                    </a:lnTo>
                    <a:lnTo>
                      <a:pt x="132" y="155"/>
                    </a:lnTo>
                    <a:lnTo>
                      <a:pt x="124" y="158"/>
                    </a:lnTo>
                    <a:lnTo>
                      <a:pt x="117" y="162"/>
                    </a:lnTo>
                    <a:lnTo>
                      <a:pt x="109" y="165"/>
                    </a:lnTo>
                    <a:lnTo>
                      <a:pt x="101" y="167"/>
                    </a:lnTo>
                    <a:lnTo>
                      <a:pt x="93" y="169"/>
                    </a:lnTo>
                    <a:lnTo>
                      <a:pt x="84" y="169"/>
                    </a:lnTo>
                    <a:lnTo>
                      <a:pt x="75" y="169"/>
                    </a:lnTo>
                    <a:lnTo>
                      <a:pt x="67" y="167"/>
                    </a:lnTo>
                    <a:lnTo>
                      <a:pt x="59" y="165"/>
                    </a:lnTo>
                    <a:lnTo>
                      <a:pt x="51" y="162"/>
                    </a:lnTo>
                    <a:lnTo>
                      <a:pt x="44" y="158"/>
                    </a:lnTo>
                    <a:lnTo>
                      <a:pt x="36" y="155"/>
                    </a:lnTo>
                    <a:lnTo>
                      <a:pt x="31" y="149"/>
                    </a:lnTo>
                    <a:lnTo>
                      <a:pt x="24" y="143"/>
                    </a:lnTo>
                    <a:lnTo>
                      <a:pt x="19" y="138"/>
                    </a:lnTo>
                    <a:lnTo>
                      <a:pt x="14" y="131"/>
                    </a:lnTo>
                    <a:lnTo>
                      <a:pt x="10" y="124"/>
                    </a:lnTo>
                    <a:lnTo>
                      <a:pt x="6" y="117"/>
                    </a:lnTo>
                    <a:lnTo>
                      <a:pt x="3" y="109"/>
                    </a:lnTo>
                    <a:lnTo>
                      <a:pt x="1" y="101"/>
                    </a:lnTo>
                    <a:lnTo>
                      <a:pt x="0" y="92"/>
                    </a:lnTo>
                    <a:lnTo>
                      <a:pt x="0" y="84"/>
                    </a:lnTo>
                    <a:lnTo>
                      <a:pt x="0" y="75"/>
                    </a:lnTo>
                    <a:lnTo>
                      <a:pt x="1" y="67"/>
                    </a:lnTo>
                    <a:lnTo>
                      <a:pt x="3" y="59"/>
                    </a:lnTo>
                    <a:lnTo>
                      <a:pt x="6" y="51"/>
                    </a:lnTo>
                    <a:lnTo>
                      <a:pt x="10" y="43"/>
                    </a:lnTo>
                    <a:lnTo>
                      <a:pt x="14" y="36"/>
                    </a:lnTo>
                    <a:lnTo>
                      <a:pt x="19" y="31"/>
                    </a:lnTo>
                    <a:lnTo>
                      <a:pt x="24" y="24"/>
                    </a:lnTo>
                    <a:lnTo>
                      <a:pt x="31" y="19"/>
                    </a:lnTo>
                    <a:lnTo>
                      <a:pt x="36" y="14"/>
                    </a:lnTo>
                    <a:lnTo>
                      <a:pt x="44" y="10"/>
                    </a:lnTo>
                    <a:lnTo>
                      <a:pt x="51" y="6"/>
                    </a:lnTo>
                    <a:lnTo>
                      <a:pt x="59" y="3"/>
                    </a:lnTo>
                    <a:lnTo>
                      <a:pt x="67" y="1"/>
                    </a:lnTo>
                    <a:lnTo>
                      <a:pt x="75" y="0"/>
                    </a:lnTo>
                    <a:lnTo>
                      <a:pt x="84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B0F0"/>
                  </a:gs>
                  <a:gs pos="74000">
                    <a:srgbClr val="00206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31"/>
              <p:cNvSpPr>
                <a:spLocks/>
              </p:cNvSpPr>
              <p:nvPr/>
            </p:nvSpPr>
            <p:spPr bwMode="auto">
              <a:xfrm>
                <a:off x="3203377" y="393675"/>
                <a:ext cx="12699" cy="12699"/>
              </a:xfrm>
              <a:custGeom>
                <a:avLst/>
                <a:gdLst>
                  <a:gd name="T0" fmla="*/ 23 w 46"/>
                  <a:gd name="T1" fmla="*/ 0 h 47"/>
                  <a:gd name="T2" fmla="*/ 27 w 46"/>
                  <a:gd name="T3" fmla="*/ 1 h 47"/>
                  <a:gd name="T4" fmla="*/ 32 w 46"/>
                  <a:gd name="T5" fmla="*/ 2 h 47"/>
                  <a:gd name="T6" fmla="*/ 35 w 46"/>
                  <a:gd name="T7" fmla="*/ 5 h 47"/>
                  <a:gd name="T8" fmla="*/ 39 w 46"/>
                  <a:gd name="T9" fmla="*/ 7 h 47"/>
                  <a:gd name="T10" fmla="*/ 42 w 46"/>
                  <a:gd name="T11" fmla="*/ 10 h 47"/>
                  <a:gd name="T12" fmla="*/ 45 w 46"/>
                  <a:gd name="T13" fmla="*/ 15 h 47"/>
                  <a:gd name="T14" fmla="*/ 46 w 46"/>
                  <a:gd name="T15" fmla="*/ 18 h 47"/>
                  <a:gd name="T16" fmla="*/ 46 w 46"/>
                  <a:gd name="T17" fmla="*/ 24 h 47"/>
                  <a:gd name="T18" fmla="*/ 46 w 46"/>
                  <a:gd name="T19" fmla="*/ 28 h 47"/>
                  <a:gd name="T20" fmla="*/ 45 w 46"/>
                  <a:gd name="T21" fmla="*/ 32 h 47"/>
                  <a:gd name="T22" fmla="*/ 42 w 46"/>
                  <a:gd name="T23" fmla="*/ 36 h 47"/>
                  <a:gd name="T24" fmla="*/ 39 w 46"/>
                  <a:gd name="T25" fmla="*/ 40 h 47"/>
                  <a:gd name="T26" fmla="*/ 35 w 46"/>
                  <a:gd name="T27" fmla="*/ 42 h 47"/>
                  <a:gd name="T28" fmla="*/ 32 w 46"/>
                  <a:gd name="T29" fmla="*/ 44 h 47"/>
                  <a:gd name="T30" fmla="*/ 27 w 46"/>
                  <a:gd name="T31" fmla="*/ 46 h 47"/>
                  <a:gd name="T32" fmla="*/ 23 w 46"/>
                  <a:gd name="T33" fmla="*/ 47 h 47"/>
                  <a:gd name="T34" fmla="*/ 18 w 46"/>
                  <a:gd name="T35" fmla="*/ 46 h 47"/>
                  <a:gd name="T36" fmla="*/ 14 w 46"/>
                  <a:gd name="T37" fmla="*/ 44 h 47"/>
                  <a:gd name="T38" fmla="*/ 10 w 46"/>
                  <a:gd name="T39" fmla="*/ 42 h 47"/>
                  <a:gd name="T40" fmla="*/ 7 w 46"/>
                  <a:gd name="T41" fmla="*/ 40 h 47"/>
                  <a:gd name="T42" fmla="*/ 4 w 46"/>
                  <a:gd name="T43" fmla="*/ 36 h 47"/>
                  <a:gd name="T44" fmla="*/ 1 w 46"/>
                  <a:gd name="T45" fmla="*/ 32 h 47"/>
                  <a:gd name="T46" fmla="*/ 0 w 46"/>
                  <a:gd name="T47" fmla="*/ 28 h 47"/>
                  <a:gd name="T48" fmla="*/ 0 w 46"/>
                  <a:gd name="T49" fmla="*/ 24 h 47"/>
                  <a:gd name="T50" fmla="*/ 0 w 46"/>
                  <a:gd name="T51" fmla="*/ 18 h 47"/>
                  <a:gd name="T52" fmla="*/ 1 w 46"/>
                  <a:gd name="T53" fmla="*/ 15 h 47"/>
                  <a:gd name="T54" fmla="*/ 4 w 46"/>
                  <a:gd name="T55" fmla="*/ 10 h 47"/>
                  <a:gd name="T56" fmla="*/ 7 w 46"/>
                  <a:gd name="T57" fmla="*/ 7 h 47"/>
                  <a:gd name="T58" fmla="*/ 10 w 46"/>
                  <a:gd name="T59" fmla="*/ 5 h 47"/>
                  <a:gd name="T60" fmla="*/ 14 w 46"/>
                  <a:gd name="T61" fmla="*/ 2 h 47"/>
                  <a:gd name="T62" fmla="*/ 18 w 46"/>
                  <a:gd name="T63" fmla="*/ 1 h 47"/>
                  <a:gd name="T64" fmla="*/ 23 w 46"/>
                  <a:gd name="T6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6" h="47">
                    <a:moveTo>
                      <a:pt x="23" y="0"/>
                    </a:moveTo>
                    <a:lnTo>
                      <a:pt x="27" y="1"/>
                    </a:lnTo>
                    <a:lnTo>
                      <a:pt x="32" y="2"/>
                    </a:lnTo>
                    <a:lnTo>
                      <a:pt x="35" y="5"/>
                    </a:lnTo>
                    <a:lnTo>
                      <a:pt x="39" y="7"/>
                    </a:lnTo>
                    <a:lnTo>
                      <a:pt x="42" y="10"/>
                    </a:lnTo>
                    <a:lnTo>
                      <a:pt x="45" y="15"/>
                    </a:lnTo>
                    <a:lnTo>
                      <a:pt x="46" y="18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5" y="32"/>
                    </a:lnTo>
                    <a:lnTo>
                      <a:pt x="42" y="36"/>
                    </a:lnTo>
                    <a:lnTo>
                      <a:pt x="39" y="40"/>
                    </a:lnTo>
                    <a:lnTo>
                      <a:pt x="35" y="42"/>
                    </a:lnTo>
                    <a:lnTo>
                      <a:pt x="32" y="44"/>
                    </a:lnTo>
                    <a:lnTo>
                      <a:pt x="27" y="46"/>
                    </a:lnTo>
                    <a:lnTo>
                      <a:pt x="23" y="47"/>
                    </a:lnTo>
                    <a:lnTo>
                      <a:pt x="18" y="46"/>
                    </a:lnTo>
                    <a:lnTo>
                      <a:pt x="14" y="44"/>
                    </a:lnTo>
                    <a:lnTo>
                      <a:pt x="10" y="42"/>
                    </a:lnTo>
                    <a:lnTo>
                      <a:pt x="7" y="40"/>
                    </a:lnTo>
                    <a:lnTo>
                      <a:pt x="4" y="36"/>
                    </a:lnTo>
                    <a:lnTo>
                      <a:pt x="1" y="32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1" y="15"/>
                    </a:lnTo>
                    <a:lnTo>
                      <a:pt x="4" y="10"/>
                    </a:lnTo>
                    <a:lnTo>
                      <a:pt x="7" y="7"/>
                    </a:lnTo>
                    <a:lnTo>
                      <a:pt x="10" y="5"/>
                    </a:lnTo>
                    <a:lnTo>
                      <a:pt x="14" y="2"/>
                    </a:lnTo>
                    <a:lnTo>
                      <a:pt x="18" y="1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E6E7E8">
                  <a:alpha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32"/>
              <p:cNvSpPr>
                <a:spLocks/>
              </p:cNvSpPr>
              <p:nvPr/>
            </p:nvSpPr>
            <p:spPr bwMode="auto">
              <a:xfrm>
                <a:off x="3224213" y="387350"/>
                <a:ext cx="7938" cy="7938"/>
              </a:xfrm>
              <a:custGeom>
                <a:avLst/>
                <a:gdLst>
                  <a:gd name="T0" fmla="*/ 15 w 30"/>
                  <a:gd name="T1" fmla="*/ 0 h 31"/>
                  <a:gd name="T2" fmla="*/ 18 w 30"/>
                  <a:gd name="T3" fmla="*/ 0 h 31"/>
                  <a:gd name="T4" fmla="*/ 20 w 30"/>
                  <a:gd name="T5" fmla="*/ 1 h 31"/>
                  <a:gd name="T6" fmla="*/ 24 w 30"/>
                  <a:gd name="T7" fmla="*/ 2 h 31"/>
                  <a:gd name="T8" fmla="*/ 26 w 30"/>
                  <a:gd name="T9" fmla="*/ 4 h 31"/>
                  <a:gd name="T10" fmla="*/ 27 w 30"/>
                  <a:gd name="T11" fmla="*/ 7 h 31"/>
                  <a:gd name="T12" fmla="*/ 29 w 30"/>
                  <a:gd name="T13" fmla="*/ 9 h 31"/>
                  <a:gd name="T14" fmla="*/ 29 w 30"/>
                  <a:gd name="T15" fmla="*/ 11 h 31"/>
                  <a:gd name="T16" fmla="*/ 30 w 30"/>
                  <a:gd name="T17" fmla="*/ 15 h 31"/>
                  <a:gd name="T18" fmla="*/ 29 w 30"/>
                  <a:gd name="T19" fmla="*/ 18 h 31"/>
                  <a:gd name="T20" fmla="*/ 29 w 30"/>
                  <a:gd name="T21" fmla="*/ 20 h 31"/>
                  <a:gd name="T22" fmla="*/ 27 w 30"/>
                  <a:gd name="T23" fmla="*/ 24 h 31"/>
                  <a:gd name="T24" fmla="*/ 26 w 30"/>
                  <a:gd name="T25" fmla="*/ 26 h 31"/>
                  <a:gd name="T26" fmla="*/ 24 w 30"/>
                  <a:gd name="T27" fmla="*/ 27 h 31"/>
                  <a:gd name="T28" fmla="*/ 20 w 30"/>
                  <a:gd name="T29" fmla="*/ 28 h 31"/>
                  <a:gd name="T30" fmla="*/ 18 w 30"/>
                  <a:gd name="T31" fmla="*/ 30 h 31"/>
                  <a:gd name="T32" fmla="*/ 15 w 30"/>
                  <a:gd name="T33" fmla="*/ 31 h 31"/>
                  <a:gd name="T34" fmla="*/ 11 w 30"/>
                  <a:gd name="T35" fmla="*/ 30 h 31"/>
                  <a:gd name="T36" fmla="*/ 9 w 30"/>
                  <a:gd name="T37" fmla="*/ 28 h 31"/>
                  <a:gd name="T38" fmla="*/ 7 w 30"/>
                  <a:gd name="T39" fmla="*/ 27 h 31"/>
                  <a:gd name="T40" fmla="*/ 4 w 30"/>
                  <a:gd name="T41" fmla="*/ 26 h 31"/>
                  <a:gd name="T42" fmla="*/ 2 w 30"/>
                  <a:gd name="T43" fmla="*/ 24 h 31"/>
                  <a:gd name="T44" fmla="*/ 1 w 30"/>
                  <a:gd name="T45" fmla="*/ 20 h 31"/>
                  <a:gd name="T46" fmla="*/ 0 w 30"/>
                  <a:gd name="T47" fmla="*/ 18 h 31"/>
                  <a:gd name="T48" fmla="*/ 0 w 30"/>
                  <a:gd name="T49" fmla="*/ 15 h 31"/>
                  <a:gd name="T50" fmla="*/ 0 w 30"/>
                  <a:gd name="T51" fmla="*/ 11 h 31"/>
                  <a:gd name="T52" fmla="*/ 1 w 30"/>
                  <a:gd name="T53" fmla="*/ 9 h 31"/>
                  <a:gd name="T54" fmla="*/ 2 w 30"/>
                  <a:gd name="T55" fmla="*/ 7 h 31"/>
                  <a:gd name="T56" fmla="*/ 4 w 30"/>
                  <a:gd name="T57" fmla="*/ 4 h 31"/>
                  <a:gd name="T58" fmla="*/ 7 w 30"/>
                  <a:gd name="T59" fmla="*/ 2 h 31"/>
                  <a:gd name="T60" fmla="*/ 9 w 30"/>
                  <a:gd name="T61" fmla="*/ 1 h 31"/>
                  <a:gd name="T62" fmla="*/ 11 w 30"/>
                  <a:gd name="T63" fmla="*/ 0 h 31"/>
                  <a:gd name="T64" fmla="*/ 15 w 30"/>
                  <a:gd name="T6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1">
                    <a:moveTo>
                      <a:pt x="15" y="0"/>
                    </a:moveTo>
                    <a:lnTo>
                      <a:pt x="18" y="0"/>
                    </a:lnTo>
                    <a:lnTo>
                      <a:pt x="20" y="1"/>
                    </a:lnTo>
                    <a:lnTo>
                      <a:pt x="24" y="2"/>
                    </a:lnTo>
                    <a:lnTo>
                      <a:pt x="26" y="4"/>
                    </a:lnTo>
                    <a:lnTo>
                      <a:pt x="27" y="7"/>
                    </a:lnTo>
                    <a:lnTo>
                      <a:pt x="29" y="9"/>
                    </a:lnTo>
                    <a:lnTo>
                      <a:pt x="29" y="11"/>
                    </a:lnTo>
                    <a:lnTo>
                      <a:pt x="30" y="15"/>
                    </a:lnTo>
                    <a:lnTo>
                      <a:pt x="29" y="18"/>
                    </a:lnTo>
                    <a:lnTo>
                      <a:pt x="29" y="20"/>
                    </a:lnTo>
                    <a:lnTo>
                      <a:pt x="27" y="24"/>
                    </a:lnTo>
                    <a:lnTo>
                      <a:pt x="26" y="26"/>
                    </a:lnTo>
                    <a:lnTo>
                      <a:pt x="24" y="27"/>
                    </a:lnTo>
                    <a:lnTo>
                      <a:pt x="20" y="28"/>
                    </a:lnTo>
                    <a:lnTo>
                      <a:pt x="18" y="30"/>
                    </a:lnTo>
                    <a:lnTo>
                      <a:pt x="15" y="31"/>
                    </a:lnTo>
                    <a:lnTo>
                      <a:pt x="11" y="30"/>
                    </a:lnTo>
                    <a:lnTo>
                      <a:pt x="9" y="28"/>
                    </a:lnTo>
                    <a:lnTo>
                      <a:pt x="7" y="27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1" y="9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9" y="1"/>
                    </a:lnTo>
                    <a:lnTo>
                      <a:pt x="11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E6E7E8">
                  <a:alpha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7285"/>
            <a:ext cx="10896600" cy="72707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Bebas Neue" panose="020B0606020202050201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900" y="1201511"/>
            <a:ext cx="10896600" cy="435133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93500" y="6492875"/>
            <a:ext cx="698500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596900" y="0"/>
            <a:ext cx="731072" cy="185255"/>
            <a:chOff x="-374958" y="1010653"/>
            <a:chExt cx="1835087" cy="914400"/>
          </a:xfrm>
        </p:grpSpPr>
        <p:sp>
          <p:nvSpPr>
            <p:cNvPr id="8" name="Rectangle 7"/>
            <p:cNvSpPr/>
            <p:nvPr userDrawn="1"/>
          </p:nvSpPr>
          <p:spPr>
            <a:xfrm>
              <a:off x="-374958" y="1010653"/>
              <a:ext cx="914400" cy="9144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545728" y="1010653"/>
              <a:ext cx="914401" cy="9144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5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8977313" y="1995449"/>
            <a:ext cx="1851025" cy="330200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198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10391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8379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10486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905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3500" y="6522171"/>
            <a:ext cx="698500" cy="33193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Rectangle 4"/>
          <p:cNvSpPr/>
          <p:nvPr userDrawn="1"/>
        </p:nvSpPr>
        <p:spPr>
          <a:xfrm flipH="1">
            <a:off x="0" y="0"/>
            <a:ext cx="12192000" cy="65151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9543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 flipH="1">
            <a:off x="0" y="0"/>
            <a:ext cx="12192000" cy="6515100"/>
          </a:xfrm>
          <a:prstGeom prst="rect">
            <a:avLst/>
          </a:prstGeom>
          <a:gradFill flip="none" rotWithShape="1">
            <a:gsLst>
              <a:gs pos="0">
                <a:schemeClr val="accent1"/>
              </a:gs>
              <a:gs pos="100000">
                <a:schemeClr val="accent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6696458" y="1602221"/>
            <a:ext cx="3315535" cy="3323840"/>
          </a:xfrm>
          <a:prstGeom prst="ellipse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93500" y="6522171"/>
            <a:ext cx="698500" cy="331932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004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 flipH="1">
            <a:off x="0" y="3"/>
            <a:ext cx="12192000" cy="6502397"/>
          </a:xfrm>
          <a:prstGeom prst="rect">
            <a:avLst/>
          </a:prstGeom>
          <a:gradFill flip="none" rotWithShape="1">
            <a:gsLst>
              <a:gs pos="45000">
                <a:schemeClr val="accent1"/>
              </a:gs>
              <a:gs pos="100000">
                <a:schemeClr val="accent2">
                  <a:lumMod val="75000"/>
                </a:schemeClr>
              </a:gs>
            </a:gsLst>
            <a:lin ang="27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3886284" y="2144267"/>
            <a:ext cx="914400" cy="914400"/>
          </a:xfrm>
          <a:prstGeom prst="roundRect">
            <a:avLst>
              <a:gd name="adj" fmla="val 50000"/>
            </a:avLst>
          </a:pr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5054628" y="2144267"/>
            <a:ext cx="914400" cy="914400"/>
          </a:xfrm>
          <a:prstGeom prst="roundRect">
            <a:avLst>
              <a:gd name="adj" fmla="val 50000"/>
            </a:avLst>
          </a:pr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14" name="Rectangle 13"/>
          <p:cNvSpPr/>
          <p:nvPr/>
        </p:nvSpPr>
        <p:spPr>
          <a:xfrm>
            <a:off x="6222972" y="2144267"/>
            <a:ext cx="914400" cy="914400"/>
          </a:xfrm>
          <a:prstGeom prst="roundRect">
            <a:avLst>
              <a:gd name="adj" fmla="val 50000"/>
            </a:avLst>
          </a:pr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7391316" y="2144267"/>
            <a:ext cx="914400" cy="914400"/>
          </a:xfrm>
          <a:prstGeom prst="roundRect">
            <a:avLst>
              <a:gd name="adj" fmla="val 50000"/>
            </a:avLst>
          </a:prstGeom>
          <a:solidFill>
            <a:schemeClr val="bg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1524000" y="3138809"/>
            <a:ext cx="9144000" cy="1006475"/>
          </a:xfrm>
        </p:spPr>
        <p:txBody>
          <a:bodyPr wrap="none" anchor="ctr"/>
          <a:lstStyle>
            <a:lvl1pPr marL="0" indent="0" algn="ctr">
              <a:buFont typeface="Arial" panose="020B0604020202020204" pitchFamily="34" charset="0"/>
              <a:buNone/>
              <a:defRPr lang="en-US" sz="5400" b="0" dirty="0">
                <a:solidFill>
                  <a:schemeClr val="bg1"/>
                </a:solidFill>
                <a:latin typeface="Bebas Neue" panose="020B0606020202050201" pitchFamily="34" charset="0"/>
              </a:defRPr>
            </a:lvl1pPr>
          </a:lstStyle>
          <a:p>
            <a:pPr marL="0" lvl="0" algn="ctr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1524000" y="4219624"/>
            <a:ext cx="9144000" cy="313932"/>
          </a:xfrm>
        </p:spPr>
        <p:txBody>
          <a:bodyPr wrap="square" anchor="ctr">
            <a:spAutoFit/>
          </a:bodyPr>
          <a:lstStyle>
            <a:lvl1pPr marL="0" indent="0" algn="ctr">
              <a:buNone/>
              <a:defRPr lang="en-US" sz="16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algn="ctr">
              <a:buClr>
                <a:srgbClr val="E24848"/>
              </a:buClr>
            </a:pPr>
            <a:r>
              <a:rPr lang="en-US" dirty="0" smtClean="0"/>
              <a:t>Click to edit Master subtitle style</a:t>
            </a:r>
            <a:endParaRPr lang="en-US" dirty="0"/>
          </a:p>
        </p:txBody>
      </p:sp>
      <p:cxnSp>
        <p:nvCxnSpPr>
          <p:cNvPr id="9" name="Straight Connector 8"/>
          <p:cNvCxnSpPr/>
          <p:nvPr userDrawn="1"/>
        </p:nvCxnSpPr>
        <p:spPr>
          <a:xfrm flipH="1">
            <a:off x="2995863" y="2539603"/>
            <a:ext cx="56548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 userDrawn="1"/>
        </p:nvCxnSpPr>
        <p:spPr>
          <a:xfrm flipH="1">
            <a:off x="8638673" y="2539603"/>
            <a:ext cx="56548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2769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7285"/>
            <a:ext cx="10896600" cy="72707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Bebas Neue" panose="020B0606020202050201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900" y="1201511"/>
            <a:ext cx="10896600" cy="435133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93500" y="6492875"/>
            <a:ext cx="698500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596900" y="0"/>
            <a:ext cx="731072" cy="185255"/>
            <a:chOff x="-374958" y="1010653"/>
            <a:chExt cx="1835087" cy="914400"/>
          </a:xfrm>
        </p:grpSpPr>
        <p:sp>
          <p:nvSpPr>
            <p:cNvPr id="8" name="Rectangle 7"/>
            <p:cNvSpPr/>
            <p:nvPr userDrawn="1"/>
          </p:nvSpPr>
          <p:spPr>
            <a:xfrm>
              <a:off x="-374958" y="1010653"/>
              <a:ext cx="914400" cy="9144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545728" y="1010653"/>
              <a:ext cx="914401" cy="9144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34252622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709272" y="1452386"/>
            <a:ext cx="3944796" cy="4448483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7285"/>
            <a:ext cx="10896600" cy="72707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Bebas Neue" panose="020B0606020202050201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900" y="1201511"/>
            <a:ext cx="10896600" cy="435133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93500" y="6492875"/>
            <a:ext cx="698500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596900" y="0"/>
            <a:ext cx="731072" cy="185255"/>
            <a:chOff x="-374958" y="1010653"/>
            <a:chExt cx="1835087" cy="914400"/>
          </a:xfrm>
        </p:grpSpPr>
        <p:sp>
          <p:nvSpPr>
            <p:cNvPr id="8" name="Rectangle 7"/>
            <p:cNvSpPr/>
            <p:nvPr userDrawn="1"/>
          </p:nvSpPr>
          <p:spPr>
            <a:xfrm>
              <a:off x="-374958" y="1010653"/>
              <a:ext cx="914400" cy="9144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545728" y="1010653"/>
              <a:ext cx="914401" cy="9144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10" name="Rectangle 9"/>
          <p:cNvSpPr/>
          <p:nvPr userDrawn="1"/>
        </p:nvSpPr>
        <p:spPr>
          <a:xfrm>
            <a:off x="4654068" y="1452386"/>
            <a:ext cx="6982299" cy="4448483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37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900" y="1201511"/>
            <a:ext cx="10896600" cy="435133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1974484" y="1820030"/>
            <a:ext cx="8297841" cy="1784208"/>
            <a:chOff x="1974484" y="1820030"/>
            <a:chExt cx="8297841" cy="1784208"/>
          </a:xfrm>
        </p:grpSpPr>
        <p:sp>
          <p:nvSpPr>
            <p:cNvPr id="10" name="Rectangle 9"/>
            <p:cNvSpPr/>
            <p:nvPr userDrawn="1"/>
          </p:nvSpPr>
          <p:spPr>
            <a:xfrm>
              <a:off x="1974484" y="1820030"/>
              <a:ext cx="1548270" cy="17842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2044860" y="1907600"/>
              <a:ext cx="1407518" cy="16220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4260484" y="1820030"/>
              <a:ext cx="1548270" cy="17842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4330860" y="1907600"/>
              <a:ext cx="1407518" cy="16220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6532348" y="1820030"/>
              <a:ext cx="1548270" cy="17842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6602724" y="1907600"/>
              <a:ext cx="1407518" cy="16220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8724055" y="1820030"/>
              <a:ext cx="1548270" cy="17842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8794431" y="1907600"/>
              <a:ext cx="1407518" cy="162200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7285"/>
            <a:ext cx="10896600" cy="72707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Bebas Neue" panose="020B0606020202050201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93500" y="6492875"/>
            <a:ext cx="698500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596900" y="0"/>
            <a:ext cx="731072" cy="185255"/>
            <a:chOff x="-374958" y="1010653"/>
            <a:chExt cx="1835087" cy="914400"/>
          </a:xfrm>
        </p:grpSpPr>
        <p:sp>
          <p:nvSpPr>
            <p:cNvPr id="8" name="Rectangle 7"/>
            <p:cNvSpPr/>
            <p:nvPr userDrawn="1"/>
          </p:nvSpPr>
          <p:spPr>
            <a:xfrm>
              <a:off x="-374958" y="1010653"/>
              <a:ext cx="914400" cy="9144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545728" y="1010653"/>
              <a:ext cx="914401" cy="9144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22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2132329" y="1986692"/>
            <a:ext cx="1254909" cy="14561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Picture Placeholder 4"/>
          <p:cNvSpPr>
            <a:spLocks noGrp="1"/>
          </p:cNvSpPr>
          <p:nvPr>
            <p:ph type="pic" sz="quarter" idx="14"/>
          </p:nvPr>
        </p:nvSpPr>
        <p:spPr>
          <a:xfrm>
            <a:off x="4405874" y="1986692"/>
            <a:ext cx="1254909" cy="14561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15"/>
          </p:nvPr>
        </p:nvSpPr>
        <p:spPr>
          <a:xfrm>
            <a:off x="6679027" y="1986692"/>
            <a:ext cx="1254909" cy="14561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16"/>
          </p:nvPr>
        </p:nvSpPr>
        <p:spPr>
          <a:xfrm>
            <a:off x="8867654" y="1986692"/>
            <a:ext cx="1254909" cy="14561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0718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5140204" y="2470073"/>
            <a:ext cx="2100174" cy="2100174"/>
          </a:xfrm>
          <a:prstGeom prst="ellipse">
            <a:avLst/>
          </a:prstGeom>
          <a:noFill/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7285"/>
            <a:ext cx="10896600" cy="72707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Bebas Neue" panose="020B0606020202050201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900" y="1201511"/>
            <a:ext cx="10896600" cy="435133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93500" y="6492875"/>
            <a:ext cx="698500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596900" y="0"/>
            <a:ext cx="731072" cy="185255"/>
            <a:chOff x="-374958" y="1010653"/>
            <a:chExt cx="1835087" cy="914400"/>
          </a:xfrm>
        </p:grpSpPr>
        <p:sp>
          <p:nvSpPr>
            <p:cNvPr id="8" name="Rectangle 7"/>
            <p:cNvSpPr/>
            <p:nvPr userDrawn="1"/>
          </p:nvSpPr>
          <p:spPr>
            <a:xfrm>
              <a:off x="-374958" y="1010653"/>
              <a:ext cx="914400" cy="9144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545728" y="1010653"/>
              <a:ext cx="914401" cy="9144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29257908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6299386" y="3470971"/>
            <a:ext cx="5359400" cy="2312124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7285"/>
            <a:ext cx="10896600" cy="72707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Bebas Neue" panose="020B0606020202050201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900" y="1201511"/>
            <a:ext cx="10896600" cy="435133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93500" y="6492875"/>
            <a:ext cx="698500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596900" y="0"/>
            <a:ext cx="731072" cy="185255"/>
            <a:chOff x="-374958" y="1010653"/>
            <a:chExt cx="1835087" cy="914400"/>
          </a:xfrm>
        </p:grpSpPr>
        <p:sp>
          <p:nvSpPr>
            <p:cNvPr id="8" name="Rectangle 7"/>
            <p:cNvSpPr/>
            <p:nvPr userDrawn="1"/>
          </p:nvSpPr>
          <p:spPr>
            <a:xfrm>
              <a:off x="-374958" y="1010653"/>
              <a:ext cx="914400" cy="9144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545728" y="1010653"/>
              <a:ext cx="914401" cy="9144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</p:spTree>
    <p:extLst>
      <p:ext uri="{BB962C8B-B14F-4D97-AF65-F5344CB8AC3E}">
        <p14:creationId xmlns:p14="http://schemas.microsoft.com/office/powerpoint/2010/main" val="979533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/>
          <p:cNvGrpSpPr/>
          <p:nvPr userDrawn="1"/>
        </p:nvGrpSpPr>
        <p:grpSpPr>
          <a:xfrm>
            <a:off x="912641" y="1607759"/>
            <a:ext cx="5008815" cy="4035975"/>
            <a:chOff x="1033027" y="1979813"/>
            <a:chExt cx="5008815" cy="4035975"/>
          </a:xfrm>
        </p:grpSpPr>
        <p:sp>
          <p:nvSpPr>
            <p:cNvPr id="11" name="Freeform 6"/>
            <p:cNvSpPr>
              <a:spLocks/>
            </p:cNvSpPr>
            <p:nvPr/>
          </p:nvSpPr>
          <p:spPr bwMode="auto">
            <a:xfrm>
              <a:off x="2691364" y="5431708"/>
              <a:ext cx="1701533" cy="539007"/>
            </a:xfrm>
            <a:custGeom>
              <a:avLst/>
              <a:gdLst>
                <a:gd name="T0" fmla="*/ 3037 w 3628"/>
                <a:gd name="T1" fmla="*/ 0 h 1149"/>
                <a:gd name="T2" fmla="*/ 1837 w 3628"/>
                <a:gd name="T3" fmla="*/ 0 h 1149"/>
                <a:gd name="T4" fmla="*/ 1792 w 3628"/>
                <a:gd name="T5" fmla="*/ 0 h 1149"/>
                <a:gd name="T6" fmla="*/ 591 w 3628"/>
                <a:gd name="T7" fmla="*/ 0 h 1149"/>
                <a:gd name="T8" fmla="*/ 592 w 3628"/>
                <a:gd name="T9" fmla="*/ 108 h 1149"/>
                <a:gd name="T10" fmla="*/ 594 w 3628"/>
                <a:gd name="T11" fmla="*/ 214 h 1149"/>
                <a:gd name="T12" fmla="*/ 598 w 3628"/>
                <a:gd name="T13" fmla="*/ 317 h 1149"/>
                <a:gd name="T14" fmla="*/ 600 w 3628"/>
                <a:gd name="T15" fmla="*/ 419 h 1149"/>
                <a:gd name="T16" fmla="*/ 600 w 3628"/>
                <a:gd name="T17" fmla="*/ 468 h 1149"/>
                <a:gd name="T18" fmla="*/ 599 w 3628"/>
                <a:gd name="T19" fmla="*/ 516 h 1149"/>
                <a:gd name="T20" fmla="*/ 597 w 3628"/>
                <a:gd name="T21" fmla="*/ 564 h 1149"/>
                <a:gd name="T22" fmla="*/ 594 w 3628"/>
                <a:gd name="T23" fmla="*/ 610 h 1149"/>
                <a:gd name="T24" fmla="*/ 590 w 3628"/>
                <a:gd name="T25" fmla="*/ 654 h 1149"/>
                <a:gd name="T26" fmla="*/ 584 w 3628"/>
                <a:gd name="T27" fmla="*/ 698 h 1149"/>
                <a:gd name="T28" fmla="*/ 576 w 3628"/>
                <a:gd name="T29" fmla="*/ 740 h 1149"/>
                <a:gd name="T30" fmla="*/ 567 w 3628"/>
                <a:gd name="T31" fmla="*/ 780 h 1149"/>
                <a:gd name="T32" fmla="*/ 554 w 3628"/>
                <a:gd name="T33" fmla="*/ 820 h 1149"/>
                <a:gd name="T34" fmla="*/ 540 w 3628"/>
                <a:gd name="T35" fmla="*/ 857 h 1149"/>
                <a:gd name="T36" fmla="*/ 524 w 3628"/>
                <a:gd name="T37" fmla="*/ 892 h 1149"/>
                <a:gd name="T38" fmla="*/ 504 w 3628"/>
                <a:gd name="T39" fmla="*/ 925 h 1149"/>
                <a:gd name="T40" fmla="*/ 482 w 3628"/>
                <a:gd name="T41" fmla="*/ 958 h 1149"/>
                <a:gd name="T42" fmla="*/ 458 w 3628"/>
                <a:gd name="T43" fmla="*/ 986 h 1149"/>
                <a:gd name="T44" fmla="*/ 429 w 3628"/>
                <a:gd name="T45" fmla="*/ 1014 h 1149"/>
                <a:gd name="T46" fmla="*/ 398 w 3628"/>
                <a:gd name="T47" fmla="*/ 1039 h 1149"/>
                <a:gd name="T48" fmla="*/ 363 w 3628"/>
                <a:gd name="T49" fmla="*/ 1062 h 1149"/>
                <a:gd name="T50" fmla="*/ 323 w 3628"/>
                <a:gd name="T51" fmla="*/ 1081 h 1149"/>
                <a:gd name="T52" fmla="*/ 281 w 3628"/>
                <a:gd name="T53" fmla="*/ 1100 h 1149"/>
                <a:gd name="T54" fmla="*/ 233 w 3628"/>
                <a:gd name="T55" fmla="*/ 1115 h 1149"/>
                <a:gd name="T56" fmla="*/ 182 w 3628"/>
                <a:gd name="T57" fmla="*/ 1128 h 1149"/>
                <a:gd name="T58" fmla="*/ 127 w 3628"/>
                <a:gd name="T59" fmla="*/ 1137 h 1149"/>
                <a:gd name="T60" fmla="*/ 66 w 3628"/>
                <a:gd name="T61" fmla="*/ 1144 h 1149"/>
                <a:gd name="T62" fmla="*/ 0 w 3628"/>
                <a:gd name="T63" fmla="*/ 1149 h 1149"/>
                <a:gd name="T64" fmla="*/ 1792 w 3628"/>
                <a:gd name="T65" fmla="*/ 1149 h 1149"/>
                <a:gd name="T66" fmla="*/ 1837 w 3628"/>
                <a:gd name="T67" fmla="*/ 1149 h 1149"/>
                <a:gd name="T68" fmla="*/ 3628 w 3628"/>
                <a:gd name="T69" fmla="*/ 1149 h 1149"/>
                <a:gd name="T70" fmla="*/ 3563 w 3628"/>
                <a:gd name="T71" fmla="*/ 1144 h 1149"/>
                <a:gd name="T72" fmla="*/ 3503 w 3628"/>
                <a:gd name="T73" fmla="*/ 1137 h 1149"/>
                <a:gd name="T74" fmla="*/ 3446 w 3628"/>
                <a:gd name="T75" fmla="*/ 1128 h 1149"/>
                <a:gd name="T76" fmla="*/ 3395 w 3628"/>
                <a:gd name="T77" fmla="*/ 1115 h 1149"/>
                <a:gd name="T78" fmla="*/ 3349 w 3628"/>
                <a:gd name="T79" fmla="*/ 1100 h 1149"/>
                <a:gd name="T80" fmla="*/ 3306 w 3628"/>
                <a:gd name="T81" fmla="*/ 1081 h 1149"/>
                <a:gd name="T82" fmla="*/ 3266 w 3628"/>
                <a:gd name="T83" fmla="*/ 1062 h 1149"/>
                <a:gd name="T84" fmla="*/ 3231 w 3628"/>
                <a:gd name="T85" fmla="*/ 1039 h 1149"/>
                <a:gd name="T86" fmla="*/ 3199 w 3628"/>
                <a:gd name="T87" fmla="*/ 1014 h 1149"/>
                <a:gd name="T88" fmla="*/ 3172 w 3628"/>
                <a:gd name="T89" fmla="*/ 986 h 1149"/>
                <a:gd name="T90" fmla="*/ 3146 w 3628"/>
                <a:gd name="T91" fmla="*/ 958 h 1149"/>
                <a:gd name="T92" fmla="*/ 3124 w 3628"/>
                <a:gd name="T93" fmla="*/ 925 h 1149"/>
                <a:gd name="T94" fmla="*/ 3104 w 3628"/>
                <a:gd name="T95" fmla="*/ 892 h 1149"/>
                <a:gd name="T96" fmla="*/ 3088 w 3628"/>
                <a:gd name="T97" fmla="*/ 857 h 1149"/>
                <a:gd name="T98" fmla="*/ 3074 w 3628"/>
                <a:gd name="T99" fmla="*/ 820 h 1149"/>
                <a:gd name="T100" fmla="*/ 3063 w 3628"/>
                <a:gd name="T101" fmla="*/ 780 h 1149"/>
                <a:gd name="T102" fmla="*/ 3053 w 3628"/>
                <a:gd name="T103" fmla="*/ 740 h 1149"/>
                <a:gd name="T104" fmla="*/ 3045 w 3628"/>
                <a:gd name="T105" fmla="*/ 698 h 1149"/>
                <a:gd name="T106" fmla="*/ 3040 w 3628"/>
                <a:gd name="T107" fmla="*/ 654 h 1149"/>
                <a:gd name="T108" fmla="*/ 3035 w 3628"/>
                <a:gd name="T109" fmla="*/ 610 h 1149"/>
                <a:gd name="T110" fmla="*/ 3031 w 3628"/>
                <a:gd name="T111" fmla="*/ 564 h 1149"/>
                <a:gd name="T112" fmla="*/ 3030 w 3628"/>
                <a:gd name="T113" fmla="*/ 516 h 1149"/>
                <a:gd name="T114" fmla="*/ 3029 w 3628"/>
                <a:gd name="T115" fmla="*/ 468 h 1149"/>
                <a:gd name="T116" fmla="*/ 3029 w 3628"/>
                <a:gd name="T117" fmla="*/ 419 h 1149"/>
                <a:gd name="T118" fmla="*/ 3030 w 3628"/>
                <a:gd name="T119" fmla="*/ 317 h 1149"/>
                <a:gd name="T120" fmla="*/ 3034 w 3628"/>
                <a:gd name="T121" fmla="*/ 214 h 1149"/>
                <a:gd name="T122" fmla="*/ 3036 w 3628"/>
                <a:gd name="T123" fmla="*/ 108 h 1149"/>
                <a:gd name="T124" fmla="*/ 3037 w 3628"/>
                <a:gd name="T125" fmla="*/ 0 h 1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628" h="1149">
                  <a:moveTo>
                    <a:pt x="3037" y="0"/>
                  </a:moveTo>
                  <a:lnTo>
                    <a:pt x="1837" y="0"/>
                  </a:lnTo>
                  <a:lnTo>
                    <a:pt x="1792" y="0"/>
                  </a:lnTo>
                  <a:lnTo>
                    <a:pt x="591" y="0"/>
                  </a:lnTo>
                  <a:lnTo>
                    <a:pt x="592" y="108"/>
                  </a:lnTo>
                  <a:lnTo>
                    <a:pt x="594" y="214"/>
                  </a:lnTo>
                  <a:lnTo>
                    <a:pt x="598" y="317"/>
                  </a:lnTo>
                  <a:lnTo>
                    <a:pt x="600" y="419"/>
                  </a:lnTo>
                  <a:lnTo>
                    <a:pt x="600" y="468"/>
                  </a:lnTo>
                  <a:lnTo>
                    <a:pt x="599" y="516"/>
                  </a:lnTo>
                  <a:lnTo>
                    <a:pt x="597" y="564"/>
                  </a:lnTo>
                  <a:lnTo>
                    <a:pt x="594" y="610"/>
                  </a:lnTo>
                  <a:lnTo>
                    <a:pt x="590" y="654"/>
                  </a:lnTo>
                  <a:lnTo>
                    <a:pt x="584" y="698"/>
                  </a:lnTo>
                  <a:lnTo>
                    <a:pt x="576" y="740"/>
                  </a:lnTo>
                  <a:lnTo>
                    <a:pt x="567" y="780"/>
                  </a:lnTo>
                  <a:lnTo>
                    <a:pt x="554" y="820"/>
                  </a:lnTo>
                  <a:lnTo>
                    <a:pt x="540" y="857"/>
                  </a:lnTo>
                  <a:lnTo>
                    <a:pt x="524" y="892"/>
                  </a:lnTo>
                  <a:lnTo>
                    <a:pt x="504" y="925"/>
                  </a:lnTo>
                  <a:lnTo>
                    <a:pt x="482" y="958"/>
                  </a:lnTo>
                  <a:lnTo>
                    <a:pt x="458" y="986"/>
                  </a:lnTo>
                  <a:lnTo>
                    <a:pt x="429" y="1014"/>
                  </a:lnTo>
                  <a:lnTo>
                    <a:pt x="398" y="1039"/>
                  </a:lnTo>
                  <a:lnTo>
                    <a:pt x="363" y="1062"/>
                  </a:lnTo>
                  <a:lnTo>
                    <a:pt x="323" y="1081"/>
                  </a:lnTo>
                  <a:lnTo>
                    <a:pt x="281" y="1100"/>
                  </a:lnTo>
                  <a:lnTo>
                    <a:pt x="233" y="1115"/>
                  </a:lnTo>
                  <a:lnTo>
                    <a:pt x="182" y="1128"/>
                  </a:lnTo>
                  <a:lnTo>
                    <a:pt x="127" y="1137"/>
                  </a:lnTo>
                  <a:lnTo>
                    <a:pt x="66" y="1144"/>
                  </a:lnTo>
                  <a:lnTo>
                    <a:pt x="0" y="1149"/>
                  </a:lnTo>
                  <a:lnTo>
                    <a:pt x="1792" y="1149"/>
                  </a:lnTo>
                  <a:lnTo>
                    <a:pt x="1837" y="1149"/>
                  </a:lnTo>
                  <a:lnTo>
                    <a:pt x="3628" y="1149"/>
                  </a:lnTo>
                  <a:lnTo>
                    <a:pt x="3563" y="1144"/>
                  </a:lnTo>
                  <a:lnTo>
                    <a:pt x="3503" y="1137"/>
                  </a:lnTo>
                  <a:lnTo>
                    <a:pt x="3446" y="1128"/>
                  </a:lnTo>
                  <a:lnTo>
                    <a:pt x="3395" y="1115"/>
                  </a:lnTo>
                  <a:lnTo>
                    <a:pt x="3349" y="1100"/>
                  </a:lnTo>
                  <a:lnTo>
                    <a:pt x="3306" y="1081"/>
                  </a:lnTo>
                  <a:lnTo>
                    <a:pt x="3266" y="1062"/>
                  </a:lnTo>
                  <a:lnTo>
                    <a:pt x="3231" y="1039"/>
                  </a:lnTo>
                  <a:lnTo>
                    <a:pt x="3199" y="1014"/>
                  </a:lnTo>
                  <a:lnTo>
                    <a:pt x="3172" y="986"/>
                  </a:lnTo>
                  <a:lnTo>
                    <a:pt x="3146" y="958"/>
                  </a:lnTo>
                  <a:lnTo>
                    <a:pt x="3124" y="925"/>
                  </a:lnTo>
                  <a:lnTo>
                    <a:pt x="3104" y="892"/>
                  </a:lnTo>
                  <a:lnTo>
                    <a:pt x="3088" y="857"/>
                  </a:lnTo>
                  <a:lnTo>
                    <a:pt x="3074" y="820"/>
                  </a:lnTo>
                  <a:lnTo>
                    <a:pt x="3063" y="780"/>
                  </a:lnTo>
                  <a:lnTo>
                    <a:pt x="3053" y="740"/>
                  </a:lnTo>
                  <a:lnTo>
                    <a:pt x="3045" y="698"/>
                  </a:lnTo>
                  <a:lnTo>
                    <a:pt x="3040" y="654"/>
                  </a:lnTo>
                  <a:lnTo>
                    <a:pt x="3035" y="610"/>
                  </a:lnTo>
                  <a:lnTo>
                    <a:pt x="3031" y="564"/>
                  </a:lnTo>
                  <a:lnTo>
                    <a:pt x="3030" y="516"/>
                  </a:lnTo>
                  <a:lnTo>
                    <a:pt x="3029" y="468"/>
                  </a:lnTo>
                  <a:lnTo>
                    <a:pt x="3029" y="419"/>
                  </a:lnTo>
                  <a:lnTo>
                    <a:pt x="3030" y="317"/>
                  </a:lnTo>
                  <a:lnTo>
                    <a:pt x="3034" y="214"/>
                  </a:lnTo>
                  <a:lnTo>
                    <a:pt x="3036" y="108"/>
                  </a:lnTo>
                  <a:lnTo>
                    <a:pt x="3037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</a:schemeClr>
                </a:gs>
                <a:gs pos="77000">
                  <a:schemeClr val="bg1">
                    <a:lumMod val="85000"/>
                  </a:schemeClr>
                </a:gs>
                <a:gs pos="37000">
                  <a:schemeClr val="bg1">
                    <a:lumMod val="85000"/>
                  </a:schemeClr>
                </a:gs>
                <a:gs pos="100000">
                  <a:schemeClr val="bg1">
                    <a:lumMod val="75000"/>
                  </a:schemeClr>
                </a:gs>
              </a:gsLst>
              <a:lin ang="54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2680096" y="5966957"/>
              <a:ext cx="1724070" cy="48831"/>
            </a:xfrm>
            <a:custGeom>
              <a:avLst/>
              <a:gdLst>
                <a:gd name="T0" fmla="*/ 53 w 3673"/>
                <a:gd name="T1" fmla="*/ 0 h 105"/>
                <a:gd name="T2" fmla="*/ 3621 w 3673"/>
                <a:gd name="T3" fmla="*/ 0 h 105"/>
                <a:gd name="T4" fmla="*/ 3631 w 3673"/>
                <a:gd name="T5" fmla="*/ 2 h 105"/>
                <a:gd name="T6" fmla="*/ 3640 w 3673"/>
                <a:gd name="T7" fmla="*/ 5 h 105"/>
                <a:gd name="T8" fmla="*/ 3650 w 3673"/>
                <a:gd name="T9" fmla="*/ 10 h 105"/>
                <a:gd name="T10" fmla="*/ 3658 w 3673"/>
                <a:gd name="T11" fmla="*/ 15 h 105"/>
                <a:gd name="T12" fmla="*/ 3664 w 3673"/>
                <a:gd name="T13" fmla="*/ 24 h 105"/>
                <a:gd name="T14" fmla="*/ 3668 w 3673"/>
                <a:gd name="T15" fmla="*/ 33 h 105"/>
                <a:gd name="T16" fmla="*/ 3672 w 3673"/>
                <a:gd name="T17" fmla="*/ 42 h 105"/>
                <a:gd name="T18" fmla="*/ 3673 w 3673"/>
                <a:gd name="T19" fmla="*/ 53 h 105"/>
                <a:gd name="T20" fmla="*/ 3673 w 3673"/>
                <a:gd name="T21" fmla="*/ 53 h 105"/>
                <a:gd name="T22" fmla="*/ 3672 w 3673"/>
                <a:gd name="T23" fmla="*/ 63 h 105"/>
                <a:gd name="T24" fmla="*/ 3668 w 3673"/>
                <a:gd name="T25" fmla="*/ 73 h 105"/>
                <a:gd name="T26" fmla="*/ 3664 w 3673"/>
                <a:gd name="T27" fmla="*/ 81 h 105"/>
                <a:gd name="T28" fmla="*/ 3658 w 3673"/>
                <a:gd name="T29" fmla="*/ 90 h 105"/>
                <a:gd name="T30" fmla="*/ 3650 w 3673"/>
                <a:gd name="T31" fmla="*/ 95 h 105"/>
                <a:gd name="T32" fmla="*/ 3640 w 3673"/>
                <a:gd name="T33" fmla="*/ 100 h 105"/>
                <a:gd name="T34" fmla="*/ 3631 w 3673"/>
                <a:gd name="T35" fmla="*/ 103 h 105"/>
                <a:gd name="T36" fmla="*/ 3621 w 3673"/>
                <a:gd name="T37" fmla="*/ 105 h 105"/>
                <a:gd name="T38" fmla="*/ 53 w 3673"/>
                <a:gd name="T39" fmla="*/ 105 h 105"/>
                <a:gd name="T40" fmla="*/ 42 w 3673"/>
                <a:gd name="T41" fmla="*/ 103 h 105"/>
                <a:gd name="T42" fmla="*/ 32 w 3673"/>
                <a:gd name="T43" fmla="*/ 100 h 105"/>
                <a:gd name="T44" fmla="*/ 24 w 3673"/>
                <a:gd name="T45" fmla="*/ 95 h 105"/>
                <a:gd name="T46" fmla="*/ 16 w 3673"/>
                <a:gd name="T47" fmla="*/ 90 h 105"/>
                <a:gd name="T48" fmla="*/ 9 w 3673"/>
                <a:gd name="T49" fmla="*/ 81 h 105"/>
                <a:gd name="T50" fmla="*/ 4 w 3673"/>
                <a:gd name="T51" fmla="*/ 73 h 105"/>
                <a:gd name="T52" fmla="*/ 2 w 3673"/>
                <a:gd name="T53" fmla="*/ 63 h 105"/>
                <a:gd name="T54" fmla="*/ 0 w 3673"/>
                <a:gd name="T55" fmla="*/ 53 h 105"/>
                <a:gd name="T56" fmla="*/ 0 w 3673"/>
                <a:gd name="T57" fmla="*/ 53 h 105"/>
                <a:gd name="T58" fmla="*/ 2 w 3673"/>
                <a:gd name="T59" fmla="*/ 42 h 105"/>
                <a:gd name="T60" fmla="*/ 4 w 3673"/>
                <a:gd name="T61" fmla="*/ 33 h 105"/>
                <a:gd name="T62" fmla="*/ 9 w 3673"/>
                <a:gd name="T63" fmla="*/ 24 h 105"/>
                <a:gd name="T64" fmla="*/ 16 w 3673"/>
                <a:gd name="T65" fmla="*/ 15 h 105"/>
                <a:gd name="T66" fmla="*/ 24 w 3673"/>
                <a:gd name="T67" fmla="*/ 10 h 105"/>
                <a:gd name="T68" fmla="*/ 32 w 3673"/>
                <a:gd name="T69" fmla="*/ 5 h 105"/>
                <a:gd name="T70" fmla="*/ 42 w 3673"/>
                <a:gd name="T71" fmla="*/ 2 h 105"/>
                <a:gd name="T72" fmla="*/ 53 w 3673"/>
                <a:gd name="T73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3673" h="105">
                  <a:moveTo>
                    <a:pt x="53" y="0"/>
                  </a:moveTo>
                  <a:lnTo>
                    <a:pt x="3621" y="0"/>
                  </a:lnTo>
                  <a:lnTo>
                    <a:pt x="3631" y="2"/>
                  </a:lnTo>
                  <a:lnTo>
                    <a:pt x="3640" y="5"/>
                  </a:lnTo>
                  <a:lnTo>
                    <a:pt x="3650" y="10"/>
                  </a:lnTo>
                  <a:lnTo>
                    <a:pt x="3658" y="15"/>
                  </a:lnTo>
                  <a:lnTo>
                    <a:pt x="3664" y="24"/>
                  </a:lnTo>
                  <a:lnTo>
                    <a:pt x="3668" y="33"/>
                  </a:lnTo>
                  <a:lnTo>
                    <a:pt x="3672" y="42"/>
                  </a:lnTo>
                  <a:lnTo>
                    <a:pt x="3673" y="53"/>
                  </a:lnTo>
                  <a:lnTo>
                    <a:pt x="3673" y="53"/>
                  </a:lnTo>
                  <a:lnTo>
                    <a:pt x="3672" y="63"/>
                  </a:lnTo>
                  <a:lnTo>
                    <a:pt x="3668" y="73"/>
                  </a:lnTo>
                  <a:lnTo>
                    <a:pt x="3664" y="81"/>
                  </a:lnTo>
                  <a:lnTo>
                    <a:pt x="3658" y="90"/>
                  </a:lnTo>
                  <a:lnTo>
                    <a:pt x="3650" y="95"/>
                  </a:lnTo>
                  <a:lnTo>
                    <a:pt x="3640" y="100"/>
                  </a:lnTo>
                  <a:lnTo>
                    <a:pt x="3631" y="103"/>
                  </a:lnTo>
                  <a:lnTo>
                    <a:pt x="3621" y="105"/>
                  </a:lnTo>
                  <a:lnTo>
                    <a:pt x="53" y="105"/>
                  </a:lnTo>
                  <a:lnTo>
                    <a:pt x="42" y="103"/>
                  </a:lnTo>
                  <a:lnTo>
                    <a:pt x="32" y="100"/>
                  </a:lnTo>
                  <a:lnTo>
                    <a:pt x="24" y="95"/>
                  </a:lnTo>
                  <a:lnTo>
                    <a:pt x="16" y="90"/>
                  </a:lnTo>
                  <a:lnTo>
                    <a:pt x="9" y="81"/>
                  </a:lnTo>
                  <a:lnTo>
                    <a:pt x="4" y="73"/>
                  </a:lnTo>
                  <a:lnTo>
                    <a:pt x="2" y="63"/>
                  </a:lnTo>
                  <a:lnTo>
                    <a:pt x="0" y="53"/>
                  </a:lnTo>
                  <a:lnTo>
                    <a:pt x="0" y="53"/>
                  </a:lnTo>
                  <a:lnTo>
                    <a:pt x="2" y="42"/>
                  </a:lnTo>
                  <a:lnTo>
                    <a:pt x="4" y="33"/>
                  </a:lnTo>
                  <a:lnTo>
                    <a:pt x="9" y="24"/>
                  </a:lnTo>
                  <a:lnTo>
                    <a:pt x="16" y="15"/>
                  </a:lnTo>
                  <a:lnTo>
                    <a:pt x="24" y="10"/>
                  </a:lnTo>
                  <a:lnTo>
                    <a:pt x="32" y="5"/>
                  </a:lnTo>
                  <a:lnTo>
                    <a:pt x="42" y="2"/>
                  </a:lnTo>
                  <a:lnTo>
                    <a:pt x="53" y="0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lumMod val="65000"/>
                  </a:schemeClr>
                </a:gs>
                <a:gs pos="44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5400000" scaled="1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Freeform 8"/>
            <p:cNvSpPr>
              <a:spLocks/>
            </p:cNvSpPr>
            <p:nvPr/>
          </p:nvSpPr>
          <p:spPr bwMode="auto">
            <a:xfrm>
              <a:off x="1033027" y="1979813"/>
              <a:ext cx="5008815" cy="3472554"/>
            </a:xfrm>
            <a:custGeom>
              <a:avLst/>
              <a:gdLst>
                <a:gd name="T0" fmla="*/ 10459 w 10666"/>
                <a:gd name="T1" fmla="*/ 0 h 7397"/>
                <a:gd name="T2" fmla="*/ 10500 w 10666"/>
                <a:gd name="T3" fmla="*/ 5 h 7397"/>
                <a:gd name="T4" fmla="*/ 10539 w 10666"/>
                <a:gd name="T5" fmla="*/ 16 h 7397"/>
                <a:gd name="T6" fmla="*/ 10575 w 10666"/>
                <a:gd name="T7" fmla="*/ 36 h 7397"/>
                <a:gd name="T8" fmla="*/ 10605 w 10666"/>
                <a:gd name="T9" fmla="*/ 61 h 7397"/>
                <a:gd name="T10" fmla="*/ 10630 w 10666"/>
                <a:gd name="T11" fmla="*/ 91 h 7397"/>
                <a:gd name="T12" fmla="*/ 10650 w 10666"/>
                <a:gd name="T13" fmla="*/ 127 h 7397"/>
                <a:gd name="T14" fmla="*/ 10661 w 10666"/>
                <a:gd name="T15" fmla="*/ 166 h 7397"/>
                <a:gd name="T16" fmla="*/ 10666 w 10666"/>
                <a:gd name="T17" fmla="*/ 207 h 7397"/>
                <a:gd name="T18" fmla="*/ 10665 w 10666"/>
                <a:gd name="T19" fmla="*/ 7211 h 7397"/>
                <a:gd name="T20" fmla="*/ 10657 w 10666"/>
                <a:gd name="T21" fmla="*/ 7251 h 7397"/>
                <a:gd name="T22" fmla="*/ 10641 w 10666"/>
                <a:gd name="T23" fmla="*/ 7288 h 7397"/>
                <a:gd name="T24" fmla="*/ 10619 w 10666"/>
                <a:gd name="T25" fmla="*/ 7321 h 7397"/>
                <a:gd name="T26" fmla="*/ 10591 w 10666"/>
                <a:gd name="T27" fmla="*/ 7350 h 7397"/>
                <a:gd name="T28" fmla="*/ 10557 w 10666"/>
                <a:gd name="T29" fmla="*/ 7372 h 7397"/>
                <a:gd name="T30" fmla="*/ 10520 w 10666"/>
                <a:gd name="T31" fmla="*/ 7388 h 7397"/>
                <a:gd name="T32" fmla="*/ 10480 w 10666"/>
                <a:gd name="T33" fmla="*/ 7396 h 7397"/>
                <a:gd name="T34" fmla="*/ 207 w 10666"/>
                <a:gd name="T35" fmla="*/ 7397 h 7397"/>
                <a:gd name="T36" fmla="*/ 165 w 10666"/>
                <a:gd name="T37" fmla="*/ 7393 h 7397"/>
                <a:gd name="T38" fmla="*/ 126 w 10666"/>
                <a:gd name="T39" fmla="*/ 7381 h 7397"/>
                <a:gd name="T40" fmla="*/ 91 w 10666"/>
                <a:gd name="T41" fmla="*/ 7361 h 7397"/>
                <a:gd name="T42" fmla="*/ 60 w 10666"/>
                <a:gd name="T43" fmla="*/ 7336 h 7397"/>
                <a:gd name="T44" fmla="*/ 34 w 10666"/>
                <a:gd name="T45" fmla="*/ 7306 h 7397"/>
                <a:gd name="T46" fmla="*/ 16 w 10666"/>
                <a:gd name="T47" fmla="*/ 7270 h 7397"/>
                <a:gd name="T48" fmla="*/ 3 w 10666"/>
                <a:gd name="T49" fmla="*/ 7232 h 7397"/>
                <a:gd name="T50" fmla="*/ 0 w 10666"/>
                <a:gd name="T51" fmla="*/ 7190 h 7397"/>
                <a:gd name="T52" fmla="*/ 1 w 10666"/>
                <a:gd name="T53" fmla="*/ 186 h 7397"/>
                <a:gd name="T54" fmla="*/ 9 w 10666"/>
                <a:gd name="T55" fmla="*/ 146 h 7397"/>
                <a:gd name="T56" fmla="*/ 24 w 10666"/>
                <a:gd name="T57" fmla="*/ 109 h 7397"/>
                <a:gd name="T58" fmla="*/ 47 w 10666"/>
                <a:gd name="T59" fmla="*/ 75 h 7397"/>
                <a:gd name="T60" fmla="*/ 75 w 10666"/>
                <a:gd name="T61" fmla="*/ 47 h 7397"/>
                <a:gd name="T62" fmla="*/ 108 w 10666"/>
                <a:gd name="T63" fmla="*/ 25 h 7397"/>
                <a:gd name="T64" fmla="*/ 146 w 10666"/>
                <a:gd name="T65" fmla="*/ 9 h 7397"/>
                <a:gd name="T66" fmla="*/ 186 w 10666"/>
                <a:gd name="T67" fmla="*/ 1 h 7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0666" h="7397">
                  <a:moveTo>
                    <a:pt x="207" y="0"/>
                  </a:moveTo>
                  <a:lnTo>
                    <a:pt x="10459" y="0"/>
                  </a:lnTo>
                  <a:lnTo>
                    <a:pt x="10480" y="1"/>
                  </a:lnTo>
                  <a:lnTo>
                    <a:pt x="10500" y="5"/>
                  </a:lnTo>
                  <a:lnTo>
                    <a:pt x="10520" y="9"/>
                  </a:lnTo>
                  <a:lnTo>
                    <a:pt x="10539" y="16"/>
                  </a:lnTo>
                  <a:lnTo>
                    <a:pt x="10557" y="25"/>
                  </a:lnTo>
                  <a:lnTo>
                    <a:pt x="10575" y="36"/>
                  </a:lnTo>
                  <a:lnTo>
                    <a:pt x="10591" y="47"/>
                  </a:lnTo>
                  <a:lnTo>
                    <a:pt x="10605" y="61"/>
                  </a:lnTo>
                  <a:lnTo>
                    <a:pt x="10619" y="75"/>
                  </a:lnTo>
                  <a:lnTo>
                    <a:pt x="10630" y="91"/>
                  </a:lnTo>
                  <a:lnTo>
                    <a:pt x="10641" y="109"/>
                  </a:lnTo>
                  <a:lnTo>
                    <a:pt x="10650" y="127"/>
                  </a:lnTo>
                  <a:lnTo>
                    <a:pt x="10657" y="146"/>
                  </a:lnTo>
                  <a:lnTo>
                    <a:pt x="10661" y="166"/>
                  </a:lnTo>
                  <a:lnTo>
                    <a:pt x="10665" y="186"/>
                  </a:lnTo>
                  <a:lnTo>
                    <a:pt x="10666" y="207"/>
                  </a:lnTo>
                  <a:lnTo>
                    <a:pt x="10666" y="7190"/>
                  </a:lnTo>
                  <a:lnTo>
                    <a:pt x="10665" y="7211"/>
                  </a:lnTo>
                  <a:lnTo>
                    <a:pt x="10661" y="7232"/>
                  </a:lnTo>
                  <a:lnTo>
                    <a:pt x="10657" y="7251"/>
                  </a:lnTo>
                  <a:lnTo>
                    <a:pt x="10650" y="7270"/>
                  </a:lnTo>
                  <a:lnTo>
                    <a:pt x="10641" y="7288"/>
                  </a:lnTo>
                  <a:lnTo>
                    <a:pt x="10630" y="7306"/>
                  </a:lnTo>
                  <a:lnTo>
                    <a:pt x="10619" y="7321"/>
                  </a:lnTo>
                  <a:lnTo>
                    <a:pt x="10605" y="7336"/>
                  </a:lnTo>
                  <a:lnTo>
                    <a:pt x="10591" y="7350"/>
                  </a:lnTo>
                  <a:lnTo>
                    <a:pt x="10575" y="7361"/>
                  </a:lnTo>
                  <a:lnTo>
                    <a:pt x="10557" y="7372"/>
                  </a:lnTo>
                  <a:lnTo>
                    <a:pt x="10539" y="7381"/>
                  </a:lnTo>
                  <a:lnTo>
                    <a:pt x="10520" y="7388"/>
                  </a:lnTo>
                  <a:lnTo>
                    <a:pt x="10500" y="7393"/>
                  </a:lnTo>
                  <a:lnTo>
                    <a:pt x="10480" y="7396"/>
                  </a:lnTo>
                  <a:lnTo>
                    <a:pt x="10459" y="7397"/>
                  </a:lnTo>
                  <a:lnTo>
                    <a:pt x="207" y="7397"/>
                  </a:lnTo>
                  <a:lnTo>
                    <a:pt x="186" y="7396"/>
                  </a:lnTo>
                  <a:lnTo>
                    <a:pt x="165" y="7393"/>
                  </a:lnTo>
                  <a:lnTo>
                    <a:pt x="146" y="7388"/>
                  </a:lnTo>
                  <a:lnTo>
                    <a:pt x="126" y="7381"/>
                  </a:lnTo>
                  <a:lnTo>
                    <a:pt x="108" y="7372"/>
                  </a:lnTo>
                  <a:lnTo>
                    <a:pt x="91" y="7361"/>
                  </a:lnTo>
                  <a:lnTo>
                    <a:pt x="75" y="7350"/>
                  </a:lnTo>
                  <a:lnTo>
                    <a:pt x="60" y="7336"/>
                  </a:lnTo>
                  <a:lnTo>
                    <a:pt x="47" y="7321"/>
                  </a:lnTo>
                  <a:lnTo>
                    <a:pt x="34" y="7306"/>
                  </a:lnTo>
                  <a:lnTo>
                    <a:pt x="24" y="7288"/>
                  </a:lnTo>
                  <a:lnTo>
                    <a:pt x="16" y="7270"/>
                  </a:lnTo>
                  <a:lnTo>
                    <a:pt x="9" y="7251"/>
                  </a:lnTo>
                  <a:lnTo>
                    <a:pt x="3" y="7232"/>
                  </a:lnTo>
                  <a:lnTo>
                    <a:pt x="1" y="7211"/>
                  </a:lnTo>
                  <a:lnTo>
                    <a:pt x="0" y="7190"/>
                  </a:lnTo>
                  <a:lnTo>
                    <a:pt x="0" y="207"/>
                  </a:lnTo>
                  <a:lnTo>
                    <a:pt x="1" y="186"/>
                  </a:lnTo>
                  <a:lnTo>
                    <a:pt x="3" y="166"/>
                  </a:lnTo>
                  <a:lnTo>
                    <a:pt x="9" y="146"/>
                  </a:lnTo>
                  <a:lnTo>
                    <a:pt x="16" y="127"/>
                  </a:lnTo>
                  <a:lnTo>
                    <a:pt x="24" y="109"/>
                  </a:lnTo>
                  <a:lnTo>
                    <a:pt x="34" y="91"/>
                  </a:lnTo>
                  <a:lnTo>
                    <a:pt x="47" y="75"/>
                  </a:lnTo>
                  <a:lnTo>
                    <a:pt x="60" y="61"/>
                  </a:lnTo>
                  <a:lnTo>
                    <a:pt x="75" y="47"/>
                  </a:lnTo>
                  <a:lnTo>
                    <a:pt x="91" y="36"/>
                  </a:lnTo>
                  <a:lnTo>
                    <a:pt x="108" y="25"/>
                  </a:lnTo>
                  <a:lnTo>
                    <a:pt x="126" y="16"/>
                  </a:lnTo>
                  <a:lnTo>
                    <a:pt x="146" y="9"/>
                  </a:lnTo>
                  <a:lnTo>
                    <a:pt x="165" y="5"/>
                  </a:lnTo>
                  <a:lnTo>
                    <a:pt x="186" y="1"/>
                  </a:lnTo>
                  <a:lnTo>
                    <a:pt x="207" y="0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1">
                    <a:lumMod val="75000"/>
                    <a:tint val="66000"/>
                    <a:satMod val="160000"/>
                  </a:schemeClr>
                </a:gs>
                <a:gs pos="50000">
                  <a:schemeClr val="bg1">
                    <a:lumMod val="75000"/>
                    <a:tint val="44500"/>
                    <a:satMod val="160000"/>
                  </a:schemeClr>
                </a:gs>
                <a:gs pos="100000">
                  <a:schemeClr val="bg1">
                    <a:lumMod val="75000"/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>
              <a:off x="1033027" y="1979813"/>
              <a:ext cx="5008815" cy="3021817"/>
            </a:xfrm>
            <a:custGeom>
              <a:avLst/>
              <a:gdLst>
                <a:gd name="T0" fmla="*/ 207 w 10666"/>
                <a:gd name="T1" fmla="*/ 0 h 6436"/>
                <a:gd name="T2" fmla="*/ 10459 w 10666"/>
                <a:gd name="T3" fmla="*/ 0 h 6436"/>
                <a:gd name="T4" fmla="*/ 10480 w 10666"/>
                <a:gd name="T5" fmla="*/ 1 h 6436"/>
                <a:gd name="T6" fmla="*/ 10500 w 10666"/>
                <a:gd name="T7" fmla="*/ 5 h 6436"/>
                <a:gd name="T8" fmla="*/ 10520 w 10666"/>
                <a:gd name="T9" fmla="*/ 9 h 6436"/>
                <a:gd name="T10" fmla="*/ 10539 w 10666"/>
                <a:gd name="T11" fmla="*/ 16 h 6436"/>
                <a:gd name="T12" fmla="*/ 10557 w 10666"/>
                <a:gd name="T13" fmla="*/ 25 h 6436"/>
                <a:gd name="T14" fmla="*/ 10575 w 10666"/>
                <a:gd name="T15" fmla="*/ 36 h 6436"/>
                <a:gd name="T16" fmla="*/ 10591 w 10666"/>
                <a:gd name="T17" fmla="*/ 47 h 6436"/>
                <a:gd name="T18" fmla="*/ 10605 w 10666"/>
                <a:gd name="T19" fmla="*/ 61 h 6436"/>
                <a:gd name="T20" fmla="*/ 10619 w 10666"/>
                <a:gd name="T21" fmla="*/ 75 h 6436"/>
                <a:gd name="T22" fmla="*/ 10630 w 10666"/>
                <a:gd name="T23" fmla="*/ 91 h 6436"/>
                <a:gd name="T24" fmla="*/ 10641 w 10666"/>
                <a:gd name="T25" fmla="*/ 109 h 6436"/>
                <a:gd name="T26" fmla="*/ 10650 w 10666"/>
                <a:gd name="T27" fmla="*/ 127 h 6436"/>
                <a:gd name="T28" fmla="*/ 10657 w 10666"/>
                <a:gd name="T29" fmla="*/ 146 h 6436"/>
                <a:gd name="T30" fmla="*/ 10661 w 10666"/>
                <a:gd name="T31" fmla="*/ 166 h 6436"/>
                <a:gd name="T32" fmla="*/ 10665 w 10666"/>
                <a:gd name="T33" fmla="*/ 186 h 6436"/>
                <a:gd name="T34" fmla="*/ 10666 w 10666"/>
                <a:gd name="T35" fmla="*/ 207 h 6436"/>
                <a:gd name="T36" fmla="*/ 10666 w 10666"/>
                <a:gd name="T37" fmla="*/ 6436 h 6436"/>
                <a:gd name="T38" fmla="*/ 0 w 10666"/>
                <a:gd name="T39" fmla="*/ 6436 h 6436"/>
                <a:gd name="T40" fmla="*/ 0 w 10666"/>
                <a:gd name="T41" fmla="*/ 207 h 6436"/>
                <a:gd name="T42" fmla="*/ 1 w 10666"/>
                <a:gd name="T43" fmla="*/ 186 h 6436"/>
                <a:gd name="T44" fmla="*/ 3 w 10666"/>
                <a:gd name="T45" fmla="*/ 166 h 6436"/>
                <a:gd name="T46" fmla="*/ 9 w 10666"/>
                <a:gd name="T47" fmla="*/ 146 h 6436"/>
                <a:gd name="T48" fmla="*/ 16 w 10666"/>
                <a:gd name="T49" fmla="*/ 127 h 6436"/>
                <a:gd name="T50" fmla="*/ 24 w 10666"/>
                <a:gd name="T51" fmla="*/ 109 h 6436"/>
                <a:gd name="T52" fmla="*/ 34 w 10666"/>
                <a:gd name="T53" fmla="*/ 91 h 6436"/>
                <a:gd name="T54" fmla="*/ 47 w 10666"/>
                <a:gd name="T55" fmla="*/ 75 h 6436"/>
                <a:gd name="T56" fmla="*/ 60 w 10666"/>
                <a:gd name="T57" fmla="*/ 61 h 6436"/>
                <a:gd name="T58" fmla="*/ 75 w 10666"/>
                <a:gd name="T59" fmla="*/ 47 h 6436"/>
                <a:gd name="T60" fmla="*/ 91 w 10666"/>
                <a:gd name="T61" fmla="*/ 36 h 6436"/>
                <a:gd name="T62" fmla="*/ 108 w 10666"/>
                <a:gd name="T63" fmla="*/ 25 h 6436"/>
                <a:gd name="T64" fmla="*/ 126 w 10666"/>
                <a:gd name="T65" fmla="*/ 16 h 6436"/>
                <a:gd name="T66" fmla="*/ 146 w 10666"/>
                <a:gd name="T67" fmla="*/ 9 h 6436"/>
                <a:gd name="T68" fmla="*/ 165 w 10666"/>
                <a:gd name="T69" fmla="*/ 5 h 6436"/>
                <a:gd name="T70" fmla="*/ 186 w 10666"/>
                <a:gd name="T71" fmla="*/ 1 h 6436"/>
                <a:gd name="T72" fmla="*/ 207 w 10666"/>
                <a:gd name="T73" fmla="*/ 0 h 64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0666" h="6436">
                  <a:moveTo>
                    <a:pt x="207" y="0"/>
                  </a:moveTo>
                  <a:lnTo>
                    <a:pt x="10459" y="0"/>
                  </a:lnTo>
                  <a:lnTo>
                    <a:pt x="10480" y="1"/>
                  </a:lnTo>
                  <a:lnTo>
                    <a:pt x="10500" y="5"/>
                  </a:lnTo>
                  <a:lnTo>
                    <a:pt x="10520" y="9"/>
                  </a:lnTo>
                  <a:lnTo>
                    <a:pt x="10539" y="16"/>
                  </a:lnTo>
                  <a:lnTo>
                    <a:pt x="10557" y="25"/>
                  </a:lnTo>
                  <a:lnTo>
                    <a:pt x="10575" y="36"/>
                  </a:lnTo>
                  <a:lnTo>
                    <a:pt x="10591" y="47"/>
                  </a:lnTo>
                  <a:lnTo>
                    <a:pt x="10605" y="61"/>
                  </a:lnTo>
                  <a:lnTo>
                    <a:pt x="10619" y="75"/>
                  </a:lnTo>
                  <a:lnTo>
                    <a:pt x="10630" y="91"/>
                  </a:lnTo>
                  <a:lnTo>
                    <a:pt x="10641" y="109"/>
                  </a:lnTo>
                  <a:lnTo>
                    <a:pt x="10650" y="127"/>
                  </a:lnTo>
                  <a:lnTo>
                    <a:pt x="10657" y="146"/>
                  </a:lnTo>
                  <a:lnTo>
                    <a:pt x="10661" y="166"/>
                  </a:lnTo>
                  <a:lnTo>
                    <a:pt x="10665" y="186"/>
                  </a:lnTo>
                  <a:lnTo>
                    <a:pt x="10666" y="207"/>
                  </a:lnTo>
                  <a:lnTo>
                    <a:pt x="10666" y="6436"/>
                  </a:lnTo>
                  <a:lnTo>
                    <a:pt x="0" y="6436"/>
                  </a:lnTo>
                  <a:lnTo>
                    <a:pt x="0" y="207"/>
                  </a:lnTo>
                  <a:lnTo>
                    <a:pt x="1" y="186"/>
                  </a:lnTo>
                  <a:lnTo>
                    <a:pt x="3" y="166"/>
                  </a:lnTo>
                  <a:lnTo>
                    <a:pt x="9" y="146"/>
                  </a:lnTo>
                  <a:lnTo>
                    <a:pt x="16" y="127"/>
                  </a:lnTo>
                  <a:lnTo>
                    <a:pt x="24" y="109"/>
                  </a:lnTo>
                  <a:lnTo>
                    <a:pt x="34" y="91"/>
                  </a:lnTo>
                  <a:lnTo>
                    <a:pt x="47" y="75"/>
                  </a:lnTo>
                  <a:lnTo>
                    <a:pt x="60" y="61"/>
                  </a:lnTo>
                  <a:lnTo>
                    <a:pt x="75" y="47"/>
                  </a:lnTo>
                  <a:lnTo>
                    <a:pt x="91" y="36"/>
                  </a:lnTo>
                  <a:lnTo>
                    <a:pt x="108" y="25"/>
                  </a:lnTo>
                  <a:lnTo>
                    <a:pt x="126" y="16"/>
                  </a:lnTo>
                  <a:lnTo>
                    <a:pt x="146" y="9"/>
                  </a:lnTo>
                  <a:lnTo>
                    <a:pt x="165" y="5"/>
                  </a:lnTo>
                  <a:lnTo>
                    <a:pt x="186" y="1"/>
                  </a:lnTo>
                  <a:lnTo>
                    <a:pt x="207" y="0"/>
                  </a:lnTo>
                  <a:close/>
                </a:path>
              </a:pathLst>
            </a:custGeom>
            <a:solidFill>
              <a:schemeClr val="tx1">
                <a:lumMod val="95000"/>
                <a:lumOff val="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7285"/>
            <a:ext cx="10896600" cy="72707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Bebas Neue" panose="020B0606020202050201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900" y="1201511"/>
            <a:ext cx="10896600" cy="435133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93500" y="6492875"/>
            <a:ext cx="698500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596900" y="0"/>
            <a:ext cx="731072" cy="185255"/>
            <a:chOff x="-374958" y="1010653"/>
            <a:chExt cx="1835087" cy="914400"/>
          </a:xfrm>
        </p:grpSpPr>
        <p:sp>
          <p:nvSpPr>
            <p:cNvPr id="8" name="Rectangle 7"/>
            <p:cNvSpPr/>
            <p:nvPr userDrawn="1"/>
          </p:nvSpPr>
          <p:spPr>
            <a:xfrm>
              <a:off x="-374958" y="1010653"/>
              <a:ext cx="914400" cy="9144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545728" y="1010653"/>
              <a:ext cx="914401" cy="9144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16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1096692" y="1789118"/>
            <a:ext cx="4642592" cy="2645138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35244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" name="Group 10"/>
          <p:cNvGrpSpPr/>
          <p:nvPr/>
        </p:nvGrpSpPr>
        <p:grpSpPr>
          <a:xfrm>
            <a:off x="4524818" y="1452497"/>
            <a:ext cx="2072082" cy="4374346"/>
            <a:chOff x="2079426" y="1487765"/>
            <a:chExt cx="2175810" cy="4593324"/>
          </a:xfrm>
        </p:grpSpPr>
        <p:grpSp>
          <p:nvGrpSpPr>
            <p:cNvPr id="13" name="Group 12"/>
            <p:cNvGrpSpPr/>
            <p:nvPr/>
          </p:nvGrpSpPr>
          <p:grpSpPr>
            <a:xfrm flipH="1">
              <a:off x="2079426" y="1487765"/>
              <a:ext cx="2175810" cy="4593324"/>
              <a:chOff x="6038286" y="1298436"/>
              <a:chExt cx="2175810" cy="4593324"/>
            </a:xfrm>
          </p:grpSpPr>
          <p:grpSp>
            <p:nvGrpSpPr>
              <p:cNvPr id="22" name="Group 21"/>
              <p:cNvGrpSpPr/>
              <p:nvPr/>
            </p:nvGrpSpPr>
            <p:grpSpPr>
              <a:xfrm>
                <a:off x="7511497" y="1298436"/>
                <a:ext cx="352055" cy="28706"/>
                <a:chOff x="3605212" y="133352"/>
                <a:chExt cx="369888" cy="30160"/>
              </a:xfrm>
            </p:grpSpPr>
            <p:sp>
              <p:nvSpPr>
                <p:cNvPr id="54" name="Freeform 12"/>
                <p:cNvSpPr>
                  <a:spLocks/>
                </p:cNvSpPr>
                <p:nvPr/>
              </p:nvSpPr>
              <p:spPr bwMode="auto">
                <a:xfrm>
                  <a:off x="3617912" y="133352"/>
                  <a:ext cx="346075" cy="19050"/>
                </a:xfrm>
                <a:custGeom>
                  <a:avLst/>
                  <a:gdLst>
                    <a:gd name="T0" fmla="*/ 36 w 1309"/>
                    <a:gd name="T1" fmla="*/ 0 h 74"/>
                    <a:gd name="T2" fmla="*/ 1272 w 1309"/>
                    <a:gd name="T3" fmla="*/ 0 h 74"/>
                    <a:gd name="T4" fmla="*/ 1280 w 1309"/>
                    <a:gd name="T5" fmla="*/ 1 h 74"/>
                    <a:gd name="T6" fmla="*/ 1286 w 1309"/>
                    <a:gd name="T7" fmla="*/ 3 h 74"/>
                    <a:gd name="T8" fmla="*/ 1292 w 1309"/>
                    <a:gd name="T9" fmla="*/ 7 h 74"/>
                    <a:gd name="T10" fmla="*/ 1298 w 1309"/>
                    <a:gd name="T11" fmla="*/ 11 h 74"/>
                    <a:gd name="T12" fmla="*/ 1302 w 1309"/>
                    <a:gd name="T13" fmla="*/ 16 h 74"/>
                    <a:gd name="T14" fmla="*/ 1306 w 1309"/>
                    <a:gd name="T15" fmla="*/ 23 h 74"/>
                    <a:gd name="T16" fmla="*/ 1308 w 1309"/>
                    <a:gd name="T17" fmla="*/ 30 h 74"/>
                    <a:gd name="T18" fmla="*/ 1309 w 1309"/>
                    <a:gd name="T19" fmla="*/ 38 h 74"/>
                    <a:gd name="T20" fmla="*/ 1309 w 1309"/>
                    <a:gd name="T21" fmla="*/ 38 h 74"/>
                    <a:gd name="T22" fmla="*/ 1308 w 1309"/>
                    <a:gd name="T23" fmla="*/ 44 h 74"/>
                    <a:gd name="T24" fmla="*/ 1306 w 1309"/>
                    <a:gd name="T25" fmla="*/ 51 h 74"/>
                    <a:gd name="T26" fmla="*/ 1302 w 1309"/>
                    <a:gd name="T27" fmla="*/ 58 h 74"/>
                    <a:gd name="T28" fmla="*/ 1298 w 1309"/>
                    <a:gd name="T29" fmla="*/ 64 h 74"/>
                    <a:gd name="T30" fmla="*/ 1292 w 1309"/>
                    <a:gd name="T31" fmla="*/ 67 h 74"/>
                    <a:gd name="T32" fmla="*/ 1286 w 1309"/>
                    <a:gd name="T33" fmla="*/ 71 h 74"/>
                    <a:gd name="T34" fmla="*/ 1280 w 1309"/>
                    <a:gd name="T35" fmla="*/ 73 h 74"/>
                    <a:gd name="T36" fmla="*/ 1272 w 1309"/>
                    <a:gd name="T37" fmla="*/ 74 h 74"/>
                    <a:gd name="T38" fmla="*/ 36 w 1309"/>
                    <a:gd name="T39" fmla="*/ 74 h 74"/>
                    <a:gd name="T40" fmla="*/ 30 w 1309"/>
                    <a:gd name="T41" fmla="*/ 73 h 74"/>
                    <a:gd name="T42" fmla="*/ 23 w 1309"/>
                    <a:gd name="T43" fmla="*/ 71 h 74"/>
                    <a:gd name="T44" fmla="*/ 16 w 1309"/>
                    <a:gd name="T45" fmla="*/ 67 h 74"/>
                    <a:gd name="T46" fmla="*/ 10 w 1309"/>
                    <a:gd name="T47" fmla="*/ 64 h 74"/>
                    <a:gd name="T48" fmla="*/ 6 w 1309"/>
                    <a:gd name="T49" fmla="*/ 58 h 74"/>
                    <a:gd name="T50" fmla="*/ 2 w 1309"/>
                    <a:gd name="T51" fmla="*/ 51 h 74"/>
                    <a:gd name="T52" fmla="*/ 1 w 1309"/>
                    <a:gd name="T53" fmla="*/ 44 h 74"/>
                    <a:gd name="T54" fmla="*/ 0 w 1309"/>
                    <a:gd name="T55" fmla="*/ 38 h 74"/>
                    <a:gd name="T56" fmla="*/ 0 w 1309"/>
                    <a:gd name="T57" fmla="*/ 38 h 74"/>
                    <a:gd name="T58" fmla="*/ 1 w 1309"/>
                    <a:gd name="T59" fmla="*/ 30 h 74"/>
                    <a:gd name="T60" fmla="*/ 2 w 1309"/>
                    <a:gd name="T61" fmla="*/ 23 h 74"/>
                    <a:gd name="T62" fmla="*/ 6 w 1309"/>
                    <a:gd name="T63" fmla="*/ 16 h 74"/>
                    <a:gd name="T64" fmla="*/ 10 w 1309"/>
                    <a:gd name="T65" fmla="*/ 11 h 74"/>
                    <a:gd name="T66" fmla="*/ 16 w 1309"/>
                    <a:gd name="T67" fmla="*/ 7 h 74"/>
                    <a:gd name="T68" fmla="*/ 23 w 1309"/>
                    <a:gd name="T69" fmla="*/ 3 h 74"/>
                    <a:gd name="T70" fmla="*/ 30 w 1309"/>
                    <a:gd name="T71" fmla="*/ 1 h 74"/>
                    <a:gd name="T72" fmla="*/ 36 w 1309"/>
                    <a:gd name="T73" fmla="*/ 0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1309" h="74">
                      <a:moveTo>
                        <a:pt x="36" y="0"/>
                      </a:moveTo>
                      <a:lnTo>
                        <a:pt x="1272" y="0"/>
                      </a:lnTo>
                      <a:lnTo>
                        <a:pt x="1280" y="1"/>
                      </a:lnTo>
                      <a:lnTo>
                        <a:pt x="1286" y="3"/>
                      </a:lnTo>
                      <a:lnTo>
                        <a:pt x="1292" y="7"/>
                      </a:lnTo>
                      <a:lnTo>
                        <a:pt x="1298" y="11"/>
                      </a:lnTo>
                      <a:lnTo>
                        <a:pt x="1302" y="16"/>
                      </a:lnTo>
                      <a:lnTo>
                        <a:pt x="1306" y="23"/>
                      </a:lnTo>
                      <a:lnTo>
                        <a:pt x="1308" y="30"/>
                      </a:lnTo>
                      <a:lnTo>
                        <a:pt x="1309" y="38"/>
                      </a:lnTo>
                      <a:lnTo>
                        <a:pt x="1309" y="38"/>
                      </a:lnTo>
                      <a:lnTo>
                        <a:pt x="1308" y="44"/>
                      </a:lnTo>
                      <a:lnTo>
                        <a:pt x="1306" y="51"/>
                      </a:lnTo>
                      <a:lnTo>
                        <a:pt x="1302" y="58"/>
                      </a:lnTo>
                      <a:lnTo>
                        <a:pt x="1298" y="64"/>
                      </a:lnTo>
                      <a:lnTo>
                        <a:pt x="1292" y="67"/>
                      </a:lnTo>
                      <a:lnTo>
                        <a:pt x="1286" y="71"/>
                      </a:lnTo>
                      <a:lnTo>
                        <a:pt x="1280" y="73"/>
                      </a:lnTo>
                      <a:lnTo>
                        <a:pt x="1272" y="74"/>
                      </a:lnTo>
                      <a:lnTo>
                        <a:pt x="36" y="74"/>
                      </a:lnTo>
                      <a:lnTo>
                        <a:pt x="30" y="73"/>
                      </a:lnTo>
                      <a:lnTo>
                        <a:pt x="23" y="71"/>
                      </a:lnTo>
                      <a:lnTo>
                        <a:pt x="16" y="67"/>
                      </a:lnTo>
                      <a:lnTo>
                        <a:pt x="10" y="64"/>
                      </a:lnTo>
                      <a:lnTo>
                        <a:pt x="6" y="58"/>
                      </a:lnTo>
                      <a:lnTo>
                        <a:pt x="2" y="51"/>
                      </a:lnTo>
                      <a:lnTo>
                        <a:pt x="1" y="44"/>
                      </a:lnTo>
                      <a:lnTo>
                        <a:pt x="0" y="38"/>
                      </a:lnTo>
                      <a:lnTo>
                        <a:pt x="0" y="38"/>
                      </a:lnTo>
                      <a:lnTo>
                        <a:pt x="1" y="30"/>
                      </a:lnTo>
                      <a:lnTo>
                        <a:pt x="2" y="23"/>
                      </a:lnTo>
                      <a:lnTo>
                        <a:pt x="6" y="16"/>
                      </a:lnTo>
                      <a:lnTo>
                        <a:pt x="10" y="11"/>
                      </a:lnTo>
                      <a:lnTo>
                        <a:pt x="16" y="7"/>
                      </a:lnTo>
                      <a:lnTo>
                        <a:pt x="23" y="3"/>
                      </a:lnTo>
                      <a:lnTo>
                        <a:pt x="30" y="1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solidFill>
                  <a:schemeClr val="bg1">
                    <a:lumMod val="6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5" name="Rectangle 13"/>
                <p:cNvSpPr>
                  <a:spLocks noChangeArrowheads="1"/>
                </p:cNvSpPr>
                <p:nvPr/>
              </p:nvSpPr>
              <p:spPr bwMode="auto">
                <a:xfrm>
                  <a:off x="3605212" y="142874"/>
                  <a:ext cx="369888" cy="20638"/>
                </a:xfrm>
                <a:prstGeom prst="rect">
                  <a:avLst/>
                </a:prstGeom>
                <a:solidFill>
                  <a:schemeClr val="bg1">
                    <a:lumMod val="5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23" name="Group 22"/>
              <p:cNvGrpSpPr/>
              <p:nvPr/>
            </p:nvGrpSpPr>
            <p:grpSpPr>
              <a:xfrm>
                <a:off x="6038286" y="1954194"/>
                <a:ext cx="28695" cy="965500"/>
                <a:chOff x="2057454" y="822328"/>
                <a:chExt cx="30149" cy="1014410"/>
              </a:xfrm>
            </p:grpSpPr>
            <p:sp>
              <p:nvSpPr>
                <p:cNvPr id="48" name="Freeform 6"/>
                <p:cNvSpPr>
                  <a:spLocks/>
                </p:cNvSpPr>
                <p:nvPr/>
              </p:nvSpPr>
              <p:spPr bwMode="auto">
                <a:xfrm>
                  <a:off x="2057478" y="828677"/>
                  <a:ext cx="19050" cy="200025"/>
                </a:xfrm>
                <a:custGeom>
                  <a:avLst/>
                  <a:gdLst>
                    <a:gd name="T0" fmla="*/ 0 w 74"/>
                    <a:gd name="T1" fmla="*/ 723 h 760"/>
                    <a:gd name="T2" fmla="*/ 0 w 74"/>
                    <a:gd name="T3" fmla="*/ 37 h 760"/>
                    <a:gd name="T4" fmla="*/ 1 w 74"/>
                    <a:gd name="T5" fmla="*/ 29 h 760"/>
                    <a:gd name="T6" fmla="*/ 3 w 74"/>
                    <a:gd name="T7" fmla="*/ 22 h 760"/>
                    <a:gd name="T8" fmla="*/ 7 w 74"/>
                    <a:gd name="T9" fmla="*/ 16 h 760"/>
                    <a:gd name="T10" fmla="*/ 11 w 74"/>
                    <a:gd name="T11" fmla="*/ 11 h 760"/>
                    <a:gd name="T12" fmla="*/ 16 w 74"/>
                    <a:gd name="T13" fmla="*/ 6 h 760"/>
                    <a:gd name="T14" fmla="*/ 23 w 74"/>
                    <a:gd name="T15" fmla="*/ 3 h 760"/>
                    <a:gd name="T16" fmla="*/ 30 w 74"/>
                    <a:gd name="T17" fmla="*/ 1 h 760"/>
                    <a:gd name="T18" fmla="*/ 38 w 74"/>
                    <a:gd name="T19" fmla="*/ 0 h 760"/>
                    <a:gd name="T20" fmla="*/ 38 w 74"/>
                    <a:gd name="T21" fmla="*/ 0 h 760"/>
                    <a:gd name="T22" fmla="*/ 44 w 74"/>
                    <a:gd name="T23" fmla="*/ 1 h 760"/>
                    <a:gd name="T24" fmla="*/ 51 w 74"/>
                    <a:gd name="T25" fmla="*/ 3 h 760"/>
                    <a:gd name="T26" fmla="*/ 58 w 74"/>
                    <a:gd name="T27" fmla="*/ 6 h 760"/>
                    <a:gd name="T28" fmla="*/ 63 w 74"/>
                    <a:gd name="T29" fmla="*/ 11 h 760"/>
                    <a:gd name="T30" fmla="*/ 67 w 74"/>
                    <a:gd name="T31" fmla="*/ 16 h 760"/>
                    <a:gd name="T32" fmla="*/ 71 w 74"/>
                    <a:gd name="T33" fmla="*/ 22 h 760"/>
                    <a:gd name="T34" fmla="*/ 73 w 74"/>
                    <a:gd name="T35" fmla="*/ 29 h 760"/>
                    <a:gd name="T36" fmla="*/ 74 w 74"/>
                    <a:gd name="T37" fmla="*/ 37 h 760"/>
                    <a:gd name="T38" fmla="*/ 74 w 74"/>
                    <a:gd name="T39" fmla="*/ 723 h 760"/>
                    <a:gd name="T40" fmla="*/ 73 w 74"/>
                    <a:gd name="T41" fmla="*/ 730 h 760"/>
                    <a:gd name="T42" fmla="*/ 71 w 74"/>
                    <a:gd name="T43" fmla="*/ 738 h 760"/>
                    <a:gd name="T44" fmla="*/ 67 w 74"/>
                    <a:gd name="T45" fmla="*/ 744 h 760"/>
                    <a:gd name="T46" fmla="*/ 63 w 74"/>
                    <a:gd name="T47" fmla="*/ 750 h 760"/>
                    <a:gd name="T48" fmla="*/ 58 w 74"/>
                    <a:gd name="T49" fmla="*/ 754 h 760"/>
                    <a:gd name="T50" fmla="*/ 51 w 74"/>
                    <a:gd name="T51" fmla="*/ 758 h 760"/>
                    <a:gd name="T52" fmla="*/ 44 w 74"/>
                    <a:gd name="T53" fmla="*/ 760 h 760"/>
                    <a:gd name="T54" fmla="*/ 38 w 74"/>
                    <a:gd name="T55" fmla="*/ 760 h 760"/>
                    <a:gd name="T56" fmla="*/ 38 w 74"/>
                    <a:gd name="T57" fmla="*/ 760 h 760"/>
                    <a:gd name="T58" fmla="*/ 30 w 74"/>
                    <a:gd name="T59" fmla="*/ 760 h 760"/>
                    <a:gd name="T60" fmla="*/ 23 w 74"/>
                    <a:gd name="T61" fmla="*/ 758 h 760"/>
                    <a:gd name="T62" fmla="*/ 16 w 74"/>
                    <a:gd name="T63" fmla="*/ 754 h 760"/>
                    <a:gd name="T64" fmla="*/ 11 w 74"/>
                    <a:gd name="T65" fmla="*/ 750 h 760"/>
                    <a:gd name="T66" fmla="*/ 7 w 74"/>
                    <a:gd name="T67" fmla="*/ 744 h 760"/>
                    <a:gd name="T68" fmla="*/ 3 w 74"/>
                    <a:gd name="T69" fmla="*/ 738 h 760"/>
                    <a:gd name="T70" fmla="*/ 1 w 74"/>
                    <a:gd name="T71" fmla="*/ 730 h 760"/>
                    <a:gd name="T72" fmla="*/ 0 w 74"/>
                    <a:gd name="T73" fmla="*/ 723 h 7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74" h="760">
                      <a:moveTo>
                        <a:pt x="0" y="723"/>
                      </a:moveTo>
                      <a:lnTo>
                        <a:pt x="0" y="37"/>
                      </a:lnTo>
                      <a:lnTo>
                        <a:pt x="1" y="29"/>
                      </a:lnTo>
                      <a:lnTo>
                        <a:pt x="3" y="22"/>
                      </a:lnTo>
                      <a:lnTo>
                        <a:pt x="7" y="16"/>
                      </a:lnTo>
                      <a:lnTo>
                        <a:pt x="11" y="11"/>
                      </a:lnTo>
                      <a:lnTo>
                        <a:pt x="16" y="6"/>
                      </a:lnTo>
                      <a:lnTo>
                        <a:pt x="23" y="3"/>
                      </a:lnTo>
                      <a:lnTo>
                        <a:pt x="30" y="1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44" y="1"/>
                      </a:lnTo>
                      <a:lnTo>
                        <a:pt x="51" y="3"/>
                      </a:lnTo>
                      <a:lnTo>
                        <a:pt x="58" y="6"/>
                      </a:lnTo>
                      <a:lnTo>
                        <a:pt x="63" y="11"/>
                      </a:lnTo>
                      <a:lnTo>
                        <a:pt x="67" y="16"/>
                      </a:lnTo>
                      <a:lnTo>
                        <a:pt x="71" y="22"/>
                      </a:lnTo>
                      <a:lnTo>
                        <a:pt x="73" y="29"/>
                      </a:lnTo>
                      <a:lnTo>
                        <a:pt x="74" y="37"/>
                      </a:lnTo>
                      <a:lnTo>
                        <a:pt x="74" y="723"/>
                      </a:lnTo>
                      <a:lnTo>
                        <a:pt x="73" y="730"/>
                      </a:lnTo>
                      <a:lnTo>
                        <a:pt x="71" y="738"/>
                      </a:lnTo>
                      <a:lnTo>
                        <a:pt x="67" y="744"/>
                      </a:lnTo>
                      <a:lnTo>
                        <a:pt x="63" y="750"/>
                      </a:lnTo>
                      <a:lnTo>
                        <a:pt x="58" y="754"/>
                      </a:lnTo>
                      <a:lnTo>
                        <a:pt x="51" y="758"/>
                      </a:lnTo>
                      <a:lnTo>
                        <a:pt x="44" y="760"/>
                      </a:lnTo>
                      <a:lnTo>
                        <a:pt x="38" y="760"/>
                      </a:lnTo>
                      <a:lnTo>
                        <a:pt x="38" y="760"/>
                      </a:lnTo>
                      <a:lnTo>
                        <a:pt x="30" y="760"/>
                      </a:lnTo>
                      <a:lnTo>
                        <a:pt x="23" y="758"/>
                      </a:lnTo>
                      <a:lnTo>
                        <a:pt x="16" y="754"/>
                      </a:lnTo>
                      <a:lnTo>
                        <a:pt x="11" y="750"/>
                      </a:lnTo>
                      <a:lnTo>
                        <a:pt x="7" y="744"/>
                      </a:lnTo>
                      <a:lnTo>
                        <a:pt x="3" y="738"/>
                      </a:lnTo>
                      <a:lnTo>
                        <a:pt x="1" y="730"/>
                      </a:lnTo>
                      <a:lnTo>
                        <a:pt x="0" y="723"/>
                      </a:lnTo>
                      <a:close/>
                    </a:path>
                  </a:pathLst>
                </a:custGeom>
                <a:gradFill flip="none" rotWithShape="1">
                  <a:gsLst>
                    <a:gs pos="28744">
                      <a:schemeClr val="bg1">
                        <a:lumMod val="75000"/>
                      </a:schemeClr>
                    </a:gs>
                    <a:gs pos="78000">
                      <a:srgbClr val="060606"/>
                    </a:gs>
                    <a:gs pos="100000">
                      <a:srgbClr val="3C3C3C"/>
                    </a:gs>
                    <a:gs pos="10000">
                      <a:schemeClr val="bg1">
                        <a:lumMod val="50000"/>
                      </a:schemeClr>
                    </a:gs>
                    <a:gs pos="54000">
                      <a:schemeClr val="tx1"/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9" name="Freeform 7"/>
                <p:cNvSpPr>
                  <a:spLocks/>
                </p:cNvSpPr>
                <p:nvPr/>
              </p:nvSpPr>
              <p:spPr bwMode="auto">
                <a:xfrm>
                  <a:off x="2057454" y="1281117"/>
                  <a:ext cx="19050" cy="155575"/>
                </a:xfrm>
                <a:custGeom>
                  <a:avLst/>
                  <a:gdLst>
                    <a:gd name="T0" fmla="*/ 0 w 74"/>
                    <a:gd name="T1" fmla="*/ 550 h 588"/>
                    <a:gd name="T2" fmla="*/ 0 w 74"/>
                    <a:gd name="T3" fmla="*/ 37 h 588"/>
                    <a:gd name="T4" fmla="*/ 1 w 74"/>
                    <a:gd name="T5" fmla="*/ 29 h 588"/>
                    <a:gd name="T6" fmla="*/ 3 w 74"/>
                    <a:gd name="T7" fmla="*/ 22 h 588"/>
                    <a:gd name="T8" fmla="*/ 7 w 74"/>
                    <a:gd name="T9" fmla="*/ 17 h 588"/>
                    <a:gd name="T10" fmla="*/ 11 w 74"/>
                    <a:gd name="T11" fmla="*/ 11 h 588"/>
                    <a:gd name="T12" fmla="*/ 16 w 74"/>
                    <a:gd name="T13" fmla="*/ 6 h 588"/>
                    <a:gd name="T14" fmla="*/ 23 w 74"/>
                    <a:gd name="T15" fmla="*/ 3 h 588"/>
                    <a:gd name="T16" fmla="*/ 30 w 74"/>
                    <a:gd name="T17" fmla="*/ 1 h 588"/>
                    <a:gd name="T18" fmla="*/ 38 w 74"/>
                    <a:gd name="T19" fmla="*/ 0 h 588"/>
                    <a:gd name="T20" fmla="*/ 38 w 74"/>
                    <a:gd name="T21" fmla="*/ 0 h 588"/>
                    <a:gd name="T22" fmla="*/ 44 w 74"/>
                    <a:gd name="T23" fmla="*/ 1 h 588"/>
                    <a:gd name="T24" fmla="*/ 51 w 74"/>
                    <a:gd name="T25" fmla="*/ 3 h 588"/>
                    <a:gd name="T26" fmla="*/ 58 w 74"/>
                    <a:gd name="T27" fmla="*/ 6 h 588"/>
                    <a:gd name="T28" fmla="*/ 63 w 74"/>
                    <a:gd name="T29" fmla="*/ 11 h 588"/>
                    <a:gd name="T30" fmla="*/ 67 w 74"/>
                    <a:gd name="T31" fmla="*/ 17 h 588"/>
                    <a:gd name="T32" fmla="*/ 71 w 74"/>
                    <a:gd name="T33" fmla="*/ 22 h 588"/>
                    <a:gd name="T34" fmla="*/ 73 w 74"/>
                    <a:gd name="T35" fmla="*/ 29 h 588"/>
                    <a:gd name="T36" fmla="*/ 74 w 74"/>
                    <a:gd name="T37" fmla="*/ 37 h 588"/>
                    <a:gd name="T38" fmla="*/ 74 w 74"/>
                    <a:gd name="T39" fmla="*/ 550 h 588"/>
                    <a:gd name="T40" fmla="*/ 73 w 74"/>
                    <a:gd name="T41" fmla="*/ 558 h 588"/>
                    <a:gd name="T42" fmla="*/ 71 w 74"/>
                    <a:gd name="T43" fmla="*/ 565 h 588"/>
                    <a:gd name="T44" fmla="*/ 67 w 74"/>
                    <a:gd name="T45" fmla="*/ 571 h 588"/>
                    <a:gd name="T46" fmla="*/ 63 w 74"/>
                    <a:gd name="T47" fmla="*/ 576 h 588"/>
                    <a:gd name="T48" fmla="*/ 58 w 74"/>
                    <a:gd name="T49" fmla="*/ 581 h 588"/>
                    <a:gd name="T50" fmla="*/ 51 w 74"/>
                    <a:gd name="T51" fmla="*/ 584 h 588"/>
                    <a:gd name="T52" fmla="*/ 44 w 74"/>
                    <a:gd name="T53" fmla="*/ 587 h 588"/>
                    <a:gd name="T54" fmla="*/ 38 w 74"/>
                    <a:gd name="T55" fmla="*/ 588 h 588"/>
                    <a:gd name="T56" fmla="*/ 38 w 74"/>
                    <a:gd name="T57" fmla="*/ 588 h 588"/>
                    <a:gd name="T58" fmla="*/ 30 w 74"/>
                    <a:gd name="T59" fmla="*/ 587 h 588"/>
                    <a:gd name="T60" fmla="*/ 23 w 74"/>
                    <a:gd name="T61" fmla="*/ 584 h 588"/>
                    <a:gd name="T62" fmla="*/ 16 w 74"/>
                    <a:gd name="T63" fmla="*/ 581 h 588"/>
                    <a:gd name="T64" fmla="*/ 11 w 74"/>
                    <a:gd name="T65" fmla="*/ 576 h 588"/>
                    <a:gd name="T66" fmla="*/ 7 w 74"/>
                    <a:gd name="T67" fmla="*/ 571 h 588"/>
                    <a:gd name="T68" fmla="*/ 3 w 74"/>
                    <a:gd name="T69" fmla="*/ 565 h 588"/>
                    <a:gd name="T70" fmla="*/ 1 w 74"/>
                    <a:gd name="T71" fmla="*/ 558 h 588"/>
                    <a:gd name="T72" fmla="*/ 0 w 74"/>
                    <a:gd name="T73" fmla="*/ 550 h 58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74" h="588">
                      <a:moveTo>
                        <a:pt x="0" y="550"/>
                      </a:moveTo>
                      <a:lnTo>
                        <a:pt x="0" y="37"/>
                      </a:lnTo>
                      <a:lnTo>
                        <a:pt x="1" y="29"/>
                      </a:lnTo>
                      <a:lnTo>
                        <a:pt x="3" y="22"/>
                      </a:lnTo>
                      <a:lnTo>
                        <a:pt x="7" y="17"/>
                      </a:lnTo>
                      <a:lnTo>
                        <a:pt x="11" y="11"/>
                      </a:lnTo>
                      <a:lnTo>
                        <a:pt x="16" y="6"/>
                      </a:lnTo>
                      <a:lnTo>
                        <a:pt x="23" y="3"/>
                      </a:lnTo>
                      <a:lnTo>
                        <a:pt x="30" y="1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44" y="1"/>
                      </a:lnTo>
                      <a:lnTo>
                        <a:pt x="51" y="3"/>
                      </a:lnTo>
                      <a:lnTo>
                        <a:pt x="58" y="6"/>
                      </a:lnTo>
                      <a:lnTo>
                        <a:pt x="63" y="11"/>
                      </a:lnTo>
                      <a:lnTo>
                        <a:pt x="67" y="17"/>
                      </a:lnTo>
                      <a:lnTo>
                        <a:pt x="71" y="22"/>
                      </a:lnTo>
                      <a:lnTo>
                        <a:pt x="73" y="29"/>
                      </a:lnTo>
                      <a:lnTo>
                        <a:pt x="74" y="37"/>
                      </a:lnTo>
                      <a:lnTo>
                        <a:pt x="74" y="550"/>
                      </a:lnTo>
                      <a:lnTo>
                        <a:pt x="73" y="558"/>
                      </a:lnTo>
                      <a:lnTo>
                        <a:pt x="71" y="565"/>
                      </a:lnTo>
                      <a:lnTo>
                        <a:pt x="67" y="571"/>
                      </a:lnTo>
                      <a:lnTo>
                        <a:pt x="63" y="576"/>
                      </a:lnTo>
                      <a:lnTo>
                        <a:pt x="58" y="581"/>
                      </a:lnTo>
                      <a:lnTo>
                        <a:pt x="51" y="584"/>
                      </a:lnTo>
                      <a:lnTo>
                        <a:pt x="44" y="587"/>
                      </a:lnTo>
                      <a:lnTo>
                        <a:pt x="38" y="588"/>
                      </a:lnTo>
                      <a:lnTo>
                        <a:pt x="38" y="588"/>
                      </a:lnTo>
                      <a:lnTo>
                        <a:pt x="30" y="587"/>
                      </a:lnTo>
                      <a:lnTo>
                        <a:pt x="23" y="584"/>
                      </a:lnTo>
                      <a:lnTo>
                        <a:pt x="16" y="581"/>
                      </a:lnTo>
                      <a:lnTo>
                        <a:pt x="11" y="576"/>
                      </a:lnTo>
                      <a:lnTo>
                        <a:pt x="7" y="571"/>
                      </a:lnTo>
                      <a:lnTo>
                        <a:pt x="3" y="565"/>
                      </a:lnTo>
                      <a:lnTo>
                        <a:pt x="1" y="558"/>
                      </a:lnTo>
                      <a:lnTo>
                        <a:pt x="0" y="550"/>
                      </a:lnTo>
                      <a:close/>
                    </a:path>
                  </a:pathLst>
                </a:custGeom>
                <a:gradFill flip="none" rotWithShape="1">
                  <a:gsLst>
                    <a:gs pos="28744">
                      <a:schemeClr val="bg1">
                        <a:lumMod val="75000"/>
                      </a:schemeClr>
                    </a:gs>
                    <a:gs pos="78000">
                      <a:srgbClr val="060606"/>
                    </a:gs>
                    <a:gs pos="100000">
                      <a:srgbClr val="3C3C3C"/>
                    </a:gs>
                    <a:gs pos="10000">
                      <a:schemeClr val="bg1">
                        <a:lumMod val="50000"/>
                      </a:schemeClr>
                    </a:gs>
                    <a:gs pos="54000">
                      <a:schemeClr val="tx1"/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0" name="Freeform 8"/>
                <p:cNvSpPr>
                  <a:spLocks/>
                </p:cNvSpPr>
                <p:nvPr/>
              </p:nvSpPr>
              <p:spPr bwMode="auto">
                <a:xfrm>
                  <a:off x="2057473" y="1676404"/>
                  <a:ext cx="19050" cy="155575"/>
                </a:xfrm>
                <a:custGeom>
                  <a:avLst/>
                  <a:gdLst>
                    <a:gd name="T0" fmla="*/ 0 w 74"/>
                    <a:gd name="T1" fmla="*/ 551 h 587"/>
                    <a:gd name="T2" fmla="*/ 0 w 74"/>
                    <a:gd name="T3" fmla="*/ 38 h 587"/>
                    <a:gd name="T4" fmla="*/ 1 w 74"/>
                    <a:gd name="T5" fmla="*/ 30 h 587"/>
                    <a:gd name="T6" fmla="*/ 3 w 74"/>
                    <a:gd name="T7" fmla="*/ 23 h 587"/>
                    <a:gd name="T8" fmla="*/ 7 w 74"/>
                    <a:gd name="T9" fmla="*/ 16 h 587"/>
                    <a:gd name="T10" fmla="*/ 11 w 74"/>
                    <a:gd name="T11" fmla="*/ 11 h 587"/>
                    <a:gd name="T12" fmla="*/ 16 w 74"/>
                    <a:gd name="T13" fmla="*/ 7 h 587"/>
                    <a:gd name="T14" fmla="*/ 23 w 74"/>
                    <a:gd name="T15" fmla="*/ 3 h 587"/>
                    <a:gd name="T16" fmla="*/ 30 w 74"/>
                    <a:gd name="T17" fmla="*/ 1 h 587"/>
                    <a:gd name="T18" fmla="*/ 38 w 74"/>
                    <a:gd name="T19" fmla="*/ 0 h 587"/>
                    <a:gd name="T20" fmla="*/ 38 w 74"/>
                    <a:gd name="T21" fmla="*/ 0 h 587"/>
                    <a:gd name="T22" fmla="*/ 44 w 74"/>
                    <a:gd name="T23" fmla="*/ 1 h 587"/>
                    <a:gd name="T24" fmla="*/ 51 w 74"/>
                    <a:gd name="T25" fmla="*/ 3 h 587"/>
                    <a:gd name="T26" fmla="*/ 58 w 74"/>
                    <a:gd name="T27" fmla="*/ 7 h 587"/>
                    <a:gd name="T28" fmla="*/ 63 w 74"/>
                    <a:gd name="T29" fmla="*/ 11 h 587"/>
                    <a:gd name="T30" fmla="*/ 67 w 74"/>
                    <a:gd name="T31" fmla="*/ 16 h 587"/>
                    <a:gd name="T32" fmla="*/ 71 w 74"/>
                    <a:gd name="T33" fmla="*/ 23 h 587"/>
                    <a:gd name="T34" fmla="*/ 73 w 74"/>
                    <a:gd name="T35" fmla="*/ 30 h 587"/>
                    <a:gd name="T36" fmla="*/ 74 w 74"/>
                    <a:gd name="T37" fmla="*/ 38 h 587"/>
                    <a:gd name="T38" fmla="*/ 74 w 74"/>
                    <a:gd name="T39" fmla="*/ 551 h 587"/>
                    <a:gd name="T40" fmla="*/ 73 w 74"/>
                    <a:gd name="T41" fmla="*/ 557 h 587"/>
                    <a:gd name="T42" fmla="*/ 71 w 74"/>
                    <a:gd name="T43" fmla="*/ 564 h 587"/>
                    <a:gd name="T44" fmla="*/ 67 w 74"/>
                    <a:gd name="T45" fmla="*/ 571 h 587"/>
                    <a:gd name="T46" fmla="*/ 63 w 74"/>
                    <a:gd name="T47" fmla="*/ 577 h 587"/>
                    <a:gd name="T48" fmla="*/ 58 w 74"/>
                    <a:gd name="T49" fmla="*/ 581 h 587"/>
                    <a:gd name="T50" fmla="*/ 51 w 74"/>
                    <a:gd name="T51" fmla="*/ 585 h 587"/>
                    <a:gd name="T52" fmla="*/ 44 w 74"/>
                    <a:gd name="T53" fmla="*/ 586 h 587"/>
                    <a:gd name="T54" fmla="*/ 38 w 74"/>
                    <a:gd name="T55" fmla="*/ 587 h 587"/>
                    <a:gd name="T56" fmla="*/ 38 w 74"/>
                    <a:gd name="T57" fmla="*/ 587 h 587"/>
                    <a:gd name="T58" fmla="*/ 30 w 74"/>
                    <a:gd name="T59" fmla="*/ 586 h 587"/>
                    <a:gd name="T60" fmla="*/ 23 w 74"/>
                    <a:gd name="T61" fmla="*/ 585 h 587"/>
                    <a:gd name="T62" fmla="*/ 16 w 74"/>
                    <a:gd name="T63" fmla="*/ 581 h 587"/>
                    <a:gd name="T64" fmla="*/ 11 w 74"/>
                    <a:gd name="T65" fmla="*/ 577 h 587"/>
                    <a:gd name="T66" fmla="*/ 7 w 74"/>
                    <a:gd name="T67" fmla="*/ 571 h 587"/>
                    <a:gd name="T68" fmla="*/ 3 w 74"/>
                    <a:gd name="T69" fmla="*/ 564 h 587"/>
                    <a:gd name="T70" fmla="*/ 1 w 74"/>
                    <a:gd name="T71" fmla="*/ 557 h 587"/>
                    <a:gd name="T72" fmla="*/ 0 w 74"/>
                    <a:gd name="T73" fmla="*/ 551 h 5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74" h="587">
                      <a:moveTo>
                        <a:pt x="0" y="551"/>
                      </a:moveTo>
                      <a:lnTo>
                        <a:pt x="0" y="38"/>
                      </a:lnTo>
                      <a:lnTo>
                        <a:pt x="1" y="30"/>
                      </a:lnTo>
                      <a:lnTo>
                        <a:pt x="3" y="23"/>
                      </a:lnTo>
                      <a:lnTo>
                        <a:pt x="7" y="16"/>
                      </a:lnTo>
                      <a:lnTo>
                        <a:pt x="11" y="11"/>
                      </a:lnTo>
                      <a:lnTo>
                        <a:pt x="16" y="7"/>
                      </a:lnTo>
                      <a:lnTo>
                        <a:pt x="23" y="3"/>
                      </a:lnTo>
                      <a:lnTo>
                        <a:pt x="30" y="1"/>
                      </a:lnTo>
                      <a:lnTo>
                        <a:pt x="38" y="0"/>
                      </a:lnTo>
                      <a:lnTo>
                        <a:pt x="38" y="0"/>
                      </a:lnTo>
                      <a:lnTo>
                        <a:pt x="44" y="1"/>
                      </a:lnTo>
                      <a:lnTo>
                        <a:pt x="51" y="3"/>
                      </a:lnTo>
                      <a:lnTo>
                        <a:pt x="58" y="7"/>
                      </a:lnTo>
                      <a:lnTo>
                        <a:pt x="63" y="11"/>
                      </a:lnTo>
                      <a:lnTo>
                        <a:pt x="67" y="16"/>
                      </a:lnTo>
                      <a:lnTo>
                        <a:pt x="71" y="23"/>
                      </a:lnTo>
                      <a:lnTo>
                        <a:pt x="73" y="30"/>
                      </a:lnTo>
                      <a:lnTo>
                        <a:pt x="74" y="38"/>
                      </a:lnTo>
                      <a:lnTo>
                        <a:pt x="74" y="551"/>
                      </a:lnTo>
                      <a:lnTo>
                        <a:pt x="73" y="557"/>
                      </a:lnTo>
                      <a:lnTo>
                        <a:pt x="71" y="564"/>
                      </a:lnTo>
                      <a:lnTo>
                        <a:pt x="67" y="571"/>
                      </a:lnTo>
                      <a:lnTo>
                        <a:pt x="63" y="577"/>
                      </a:lnTo>
                      <a:lnTo>
                        <a:pt x="58" y="581"/>
                      </a:lnTo>
                      <a:lnTo>
                        <a:pt x="51" y="585"/>
                      </a:lnTo>
                      <a:lnTo>
                        <a:pt x="44" y="586"/>
                      </a:lnTo>
                      <a:lnTo>
                        <a:pt x="38" y="587"/>
                      </a:lnTo>
                      <a:lnTo>
                        <a:pt x="38" y="587"/>
                      </a:lnTo>
                      <a:lnTo>
                        <a:pt x="30" y="586"/>
                      </a:lnTo>
                      <a:lnTo>
                        <a:pt x="23" y="585"/>
                      </a:lnTo>
                      <a:lnTo>
                        <a:pt x="16" y="581"/>
                      </a:lnTo>
                      <a:lnTo>
                        <a:pt x="11" y="577"/>
                      </a:lnTo>
                      <a:lnTo>
                        <a:pt x="7" y="571"/>
                      </a:lnTo>
                      <a:lnTo>
                        <a:pt x="3" y="564"/>
                      </a:lnTo>
                      <a:lnTo>
                        <a:pt x="1" y="557"/>
                      </a:lnTo>
                      <a:lnTo>
                        <a:pt x="0" y="551"/>
                      </a:lnTo>
                      <a:close/>
                    </a:path>
                  </a:pathLst>
                </a:custGeom>
                <a:gradFill flip="none" rotWithShape="1">
                  <a:gsLst>
                    <a:gs pos="28744">
                      <a:schemeClr val="bg1">
                        <a:lumMod val="75000"/>
                      </a:schemeClr>
                    </a:gs>
                    <a:gs pos="78000">
                      <a:srgbClr val="060606"/>
                    </a:gs>
                    <a:gs pos="100000">
                      <a:srgbClr val="3C3C3C"/>
                    </a:gs>
                    <a:gs pos="10000">
                      <a:schemeClr val="bg1">
                        <a:lumMod val="50000"/>
                      </a:schemeClr>
                    </a:gs>
                    <a:gs pos="54000">
                      <a:schemeClr val="tx1"/>
                    </a:gs>
                  </a:gsLst>
                  <a:lin ang="0" scaled="1"/>
                  <a:tileRect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1" name="Rectangle 9"/>
                <p:cNvSpPr>
                  <a:spLocks noChangeArrowheads="1"/>
                </p:cNvSpPr>
                <p:nvPr/>
              </p:nvSpPr>
              <p:spPr bwMode="auto">
                <a:xfrm>
                  <a:off x="2066965" y="822328"/>
                  <a:ext cx="20638" cy="214313"/>
                </a:xfrm>
                <a:prstGeom prst="rect">
                  <a:avLst/>
                </a:prstGeom>
                <a:gradFill flip="none" rotWithShape="1">
                  <a:gsLst>
                    <a:gs pos="6140">
                      <a:schemeClr val="tx1">
                        <a:lumMod val="50000"/>
                        <a:lumOff val="50000"/>
                      </a:schemeClr>
                    </a:gs>
                    <a:gs pos="55000">
                      <a:schemeClr val="bg1">
                        <a:lumMod val="65000"/>
                      </a:schemeClr>
                    </a:gs>
                    <a:gs pos="100000">
                      <a:schemeClr val="tx1">
                        <a:lumMod val="65000"/>
                        <a:lumOff val="35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2" name="Rectangle 10"/>
                <p:cNvSpPr>
                  <a:spLocks noChangeArrowheads="1"/>
                </p:cNvSpPr>
                <p:nvPr/>
              </p:nvSpPr>
              <p:spPr bwMode="auto">
                <a:xfrm>
                  <a:off x="2066960" y="1276353"/>
                  <a:ext cx="20638" cy="165101"/>
                </a:xfrm>
                <a:prstGeom prst="rect">
                  <a:avLst/>
                </a:prstGeom>
                <a:gradFill flip="none" rotWithShape="1">
                  <a:gsLst>
                    <a:gs pos="6140">
                      <a:schemeClr val="tx1">
                        <a:lumMod val="50000"/>
                        <a:lumOff val="50000"/>
                      </a:schemeClr>
                    </a:gs>
                    <a:gs pos="55000">
                      <a:schemeClr val="bg1">
                        <a:lumMod val="65000"/>
                      </a:schemeClr>
                    </a:gs>
                    <a:gs pos="100000">
                      <a:schemeClr val="tx1">
                        <a:lumMod val="65000"/>
                        <a:lumOff val="35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53" name="Rectangle 11"/>
                <p:cNvSpPr>
                  <a:spLocks noChangeArrowheads="1"/>
                </p:cNvSpPr>
                <p:nvPr/>
              </p:nvSpPr>
              <p:spPr bwMode="auto">
                <a:xfrm>
                  <a:off x="2066925" y="1670049"/>
                  <a:ext cx="20638" cy="166689"/>
                </a:xfrm>
                <a:prstGeom prst="rect">
                  <a:avLst/>
                </a:prstGeom>
                <a:gradFill flip="none" rotWithShape="1">
                  <a:gsLst>
                    <a:gs pos="6140">
                      <a:schemeClr val="tx1">
                        <a:lumMod val="50000"/>
                        <a:lumOff val="50000"/>
                      </a:schemeClr>
                    </a:gs>
                    <a:gs pos="55000">
                      <a:schemeClr val="bg1">
                        <a:lumMod val="65000"/>
                      </a:schemeClr>
                    </a:gs>
                    <a:gs pos="100000">
                      <a:schemeClr val="tx1">
                        <a:lumMod val="65000"/>
                        <a:lumOff val="35000"/>
                      </a:scheme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sp>
            <p:nvSpPr>
              <p:cNvPr id="24" name="Freeform 14"/>
              <p:cNvSpPr>
                <a:spLocks/>
              </p:cNvSpPr>
              <p:nvPr/>
            </p:nvSpPr>
            <p:spPr bwMode="auto">
              <a:xfrm>
                <a:off x="6063996" y="1322610"/>
                <a:ext cx="2150100" cy="4569150"/>
              </a:xfrm>
              <a:custGeom>
                <a:avLst/>
                <a:gdLst>
                  <a:gd name="T0" fmla="*/ 7316 w 8536"/>
                  <a:gd name="T1" fmla="*/ 1 h 18144"/>
                  <a:gd name="T2" fmla="*/ 7508 w 8536"/>
                  <a:gd name="T3" fmla="*/ 26 h 18144"/>
                  <a:gd name="T4" fmla="*/ 7691 w 8536"/>
                  <a:gd name="T5" fmla="*/ 77 h 18144"/>
                  <a:gd name="T6" fmla="*/ 7862 w 8536"/>
                  <a:gd name="T7" fmla="*/ 155 h 18144"/>
                  <a:gd name="T8" fmla="*/ 8018 w 8536"/>
                  <a:gd name="T9" fmla="*/ 255 h 18144"/>
                  <a:gd name="T10" fmla="*/ 8158 w 8536"/>
                  <a:gd name="T11" fmla="*/ 377 h 18144"/>
                  <a:gd name="T12" fmla="*/ 8279 w 8536"/>
                  <a:gd name="T13" fmla="*/ 517 h 18144"/>
                  <a:gd name="T14" fmla="*/ 8380 w 8536"/>
                  <a:gd name="T15" fmla="*/ 674 h 18144"/>
                  <a:gd name="T16" fmla="*/ 8457 w 8536"/>
                  <a:gd name="T17" fmla="*/ 845 h 18144"/>
                  <a:gd name="T18" fmla="*/ 8510 w 8536"/>
                  <a:gd name="T19" fmla="*/ 1027 h 18144"/>
                  <a:gd name="T20" fmla="*/ 8535 w 8536"/>
                  <a:gd name="T21" fmla="*/ 1218 h 18144"/>
                  <a:gd name="T22" fmla="*/ 8535 w 8536"/>
                  <a:gd name="T23" fmla="*/ 16924 h 18144"/>
                  <a:gd name="T24" fmla="*/ 8510 w 8536"/>
                  <a:gd name="T25" fmla="*/ 17117 h 18144"/>
                  <a:gd name="T26" fmla="*/ 8457 w 8536"/>
                  <a:gd name="T27" fmla="*/ 17299 h 18144"/>
                  <a:gd name="T28" fmla="*/ 8380 w 8536"/>
                  <a:gd name="T29" fmla="*/ 17470 h 18144"/>
                  <a:gd name="T30" fmla="*/ 8279 w 8536"/>
                  <a:gd name="T31" fmla="*/ 17626 h 18144"/>
                  <a:gd name="T32" fmla="*/ 8158 w 8536"/>
                  <a:gd name="T33" fmla="*/ 17767 h 18144"/>
                  <a:gd name="T34" fmla="*/ 8018 w 8536"/>
                  <a:gd name="T35" fmla="*/ 17888 h 18144"/>
                  <a:gd name="T36" fmla="*/ 7862 w 8536"/>
                  <a:gd name="T37" fmla="*/ 17988 h 18144"/>
                  <a:gd name="T38" fmla="*/ 7691 w 8536"/>
                  <a:gd name="T39" fmla="*/ 18065 h 18144"/>
                  <a:gd name="T40" fmla="*/ 7508 w 8536"/>
                  <a:gd name="T41" fmla="*/ 18118 h 18144"/>
                  <a:gd name="T42" fmla="*/ 7316 w 8536"/>
                  <a:gd name="T43" fmla="*/ 18143 h 18144"/>
                  <a:gd name="T44" fmla="*/ 1220 w 8536"/>
                  <a:gd name="T45" fmla="*/ 18143 h 18144"/>
                  <a:gd name="T46" fmla="*/ 1027 w 8536"/>
                  <a:gd name="T47" fmla="*/ 18118 h 18144"/>
                  <a:gd name="T48" fmla="*/ 845 w 8536"/>
                  <a:gd name="T49" fmla="*/ 18065 h 18144"/>
                  <a:gd name="T50" fmla="*/ 674 w 8536"/>
                  <a:gd name="T51" fmla="*/ 17988 h 18144"/>
                  <a:gd name="T52" fmla="*/ 518 w 8536"/>
                  <a:gd name="T53" fmla="*/ 17888 h 18144"/>
                  <a:gd name="T54" fmla="*/ 377 w 8536"/>
                  <a:gd name="T55" fmla="*/ 17767 h 18144"/>
                  <a:gd name="T56" fmla="*/ 256 w 8536"/>
                  <a:gd name="T57" fmla="*/ 17626 h 18144"/>
                  <a:gd name="T58" fmla="*/ 156 w 8536"/>
                  <a:gd name="T59" fmla="*/ 17470 h 18144"/>
                  <a:gd name="T60" fmla="*/ 78 w 8536"/>
                  <a:gd name="T61" fmla="*/ 17299 h 18144"/>
                  <a:gd name="T62" fmla="*/ 26 w 8536"/>
                  <a:gd name="T63" fmla="*/ 17117 h 18144"/>
                  <a:gd name="T64" fmla="*/ 2 w 8536"/>
                  <a:gd name="T65" fmla="*/ 16924 h 18144"/>
                  <a:gd name="T66" fmla="*/ 2 w 8536"/>
                  <a:gd name="T67" fmla="*/ 1218 h 18144"/>
                  <a:gd name="T68" fmla="*/ 26 w 8536"/>
                  <a:gd name="T69" fmla="*/ 1027 h 18144"/>
                  <a:gd name="T70" fmla="*/ 78 w 8536"/>
                  <a:gd name="T71" fmla="*/ 845 h 18144"/>
                  <a:gd name="T72" fmla="*/ 156 w 8536"/>
                  <a:gd name="T73" fmla="*/ 674 h 18144"/>
                  <a:gd name="T74" fmla="*/ 256 w 8536"/>
                  <a:gd name="T75" fmla="*/ 517 h 18144"/>
                  <a:gd name="T76" fmla="*/ 377 w 8536"/>
                  <a:gd name="T77" fmla="*/ 377 h 18144"/>
                  <a:gd name="T78" fmla="*/ 518 w 8536"/>
                  <a:gd name="T79" fmla="*/ 255 h 18144"/>
                  <a:gd name="T80" fmla="*/ 674 w 8536"/>
                  <a:gd name="T81" fmla="*/ 155 h 18144"/>
                  <a:gd name="T82" fmla="*/ 845 w 8536"/>
                  <a:gd name="T83" fmla="*/ 77 h 18144"/>
                  <a:gd name="T84" fmla="*/ 1027 w 8536"/>
                  <a:gd name="T85" fmla="*/ 26 h 18144"/>
                  <a:gd name="T86" fmla="*/ 1220 w 8536"/>
                  <a:gd name="T87" fmla="*/ 1 h 18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536" h="18144">
                    <a:moveTo>
                      <a:pt x="1286" y="0"/>
                    </a:moveTo>
                    <a:lnTo>
                      <a:pt x="7249" y="0"/>
                    </a:lnTo>
                    <a:lnTo>
                      <a:pt x="7316" y="1"/>
                    </a:lnTo>
                    <a:lnTo>
                      <a:pt x="7381" y="5"/>
                    </a:lnTo>
                    <a:lnTo>
                      <a:pt x="7446" y="15"/>
                    </a:lnTo>
                    <a:lnTo>
                      <a:pt x="7508" y="26"/>
                    </a:lnTo>
                    <a:lnTo>
                      <a:pt x="7570" y="40"/>
                    </a:lnTo>
                    <a:lnTo>
                      <a:pt x="7632" y="58"/>
                    </a:lnTo>
                    <a:lnTo>
                      <a:pt x="7691" y="77"/>
                    </a:lnTo>
                    <a:lnTo>
                      <a:pt x="7749" y="101"/>
                    </a:lnTo>
                    <a:lnTo>
                      <a:pt x="7806" y="126"/>
                    </a:lnTo>
                    <a:lnTo>
                      <a:pt x="7862" y="155"/>
                    </a:lnTo>
                    <a:lnTo>
                      <a:pt x="7916" y="186"/>
                    </a:lnTo>
                    <a:lnTo>
                      <a:pt x="7968" y="220"/>
                    </a:lnTo>
                    <a:lnTo>
                      <a:pt x="8018" y="255"/>
                    </a:lnTo>
                    <a:lnTo>
                      <a:pt x="8067" y="294"/>
                    </a:lnTo>
                    <a:lnTo>
                      <a:pt x="8114" y="334"/>
                    </a:lnTo>
                    <a:lnTo>
                      <a:pt x="8158" y="377"/>
                    </a:lnTo>
                    <a:lnTo>
                      <a:pt x="8201" y="422"/>
                    </a:lnTo>
                    <a:lnTo>
                      <a:pt x="8242" y="468"/>
                    </a:lnTo>
                    <a:lnTo>
                      <a:pt x="8279" y="517"/>
                    </a:lnTo>
                    <a:lnTo>
                      <a:pt x="8316" y="567"/>
                    </a:lnTo>
                    <a:lnTo>
                      <a:pt x="8349" y="620"/>
                    </a:lnTo>
                    <a:lnTo>
                      <a:pt x="8380" y="674"/>
                    </a:lnTo>
                    <a:lnTo>
                      <a:pt x="8408" y="728"/>
                    </a:lnTo>
                    <a:lnTo>
                      <a:pt x="8434" y="785"/>
                    </a:lnTo>
                    <a:lnTo>
                      <a:pt x="8457" y="845"/>
                    </a:lnTo>
                    <a:lnTo>
                      <a:pt x="8478" y="904"/>
                    </a:lnTo>
                    <a:lnTo>
                      <a:pt x="8495" y="964"/>
                    </a:lnTo>
                    <a:lnTo>
                      <a:pt x="8510" y="1027"/>
                    </a:lnTo>
                    <a:lnTo>
                      <a:pt x="8521" y="1090"/>
                    </a:lnTo>
                    <a:lnTo>
                      <a:pt x="8529" y="1153"/>
                    </a:lnTo>
                    <a:lnTo>
                      <a:pt x="8535" y="1218"/>
                    </a:lnTo>
                    <a:lnTo>
                      <a:pt x="8536" y="1285"/>
                    </a:lnTo>
                    <a:lnTo>
                      <a:pt x="8536" y="16858"/>
                    </a:lnTo>
                    <a:lnTo>
                      <a:pt x="8535" y="16924"/>
                    </a:lnTo>
                    <a:lnTo>
                      <a:pt x="8529" y="16989"/>
                    </a:lnTo>
                    <a:lnTo>
                      <a:pt x="8521" y="17054"/>
                    </a:lnTo>
                    <a:lnTo>
                      <a:pt x="8510" y="17117"/>
                    </a:lnTo>
                    <a:lnTo>
                      <a:pt x="8495" y="17178"/>
                    </a:lnTo>
                    <a:lnTo>
                      <a:pt x="8478" y="17240"/>
                    </a:lnTo>
                    <a:lnTo>
                      <a:pt x="8457" y="17299"/>
                    </a:lnTo>
                    <a:lnTo>
                      <a:pt x="8434" y="17357"/>
                    </a:lnTo>
                    <a:lnTo>
                      <a:pt x="8408" y="17414"/>
                    </a:lnTo>
                    <a:lnTo>
                      <a:pt x="8380" y="17470"/>
                    </a:lnTo>
                    <a:lnTo>
                      <a:pt x="8349" y="17524"/>
                    </a:lnTo>
                    <a:lnTo>
                      <a:pt x="8316" y="17576"/>
                    </a:lnTo>
                    <a:lnTo>
                      <a:pt x="8279" y="17626"/>
                    </a:lnTo>
                    <a:lnTo>
                      <a:pt x="8242" y="17675"/>
                    </a:lnTo>
                    <a:lnTo>
                      <a:pt x="8201" y="17722"/>
                    </a:lnTo>
                    <a:lnTo>
                      <a:pt x="8158" y="17767"/>
                    </a:lnTo>
                    <a:lnTo>
                      <a:pt x="8114" y="17809"/>
                    </a:lnTo>
                    <a:lnTo>
                      <a:pt x="8067" y="17850"/>
                    </a:lnTo>
                    <a:lnTo>
                      <a:pt x="8018" y="17888"/>
                    </a:lnTo>
                    <a:lnTo>
                      <a:pt x="7968" y="17924"/>
                    </a:lnTo>
                    <a:lnTo>
                      <a:pt x="7916" y="17957"/>
                    </a:lnTo>
                    <a:lnTo>
                      <a:pt x="7862" y="17988"/>
                    </a:lnTo>
                    <a:lnTo>
                      <a:pt x="7806" y="18016"/>
                    </a:lnTo>
                    <a:lnTo>
                      <a:pt x="7749" y="18043"/>
                    </a:lnTo>
                    <a:lnTo>
                      <a:pt x="7691" y="18065"/>
                    </a:lnTo>
                    <a:lnTo>
                      <a:pt x="7632" y="18086"/>
                    </a:lnTo>
                    <a:lnTo>
                      <a:pt x="7570" y="18103"/>
                    </a:lnTo>
                    <a:lnTo>
                      <a:pt x="7508" y="18118"/>
                    </a:lnTo>
                    <a:lnTo>
                      <a:pt x="7446" y="18129"/>
                    </a:lnTo>
                    <a:lnTo>
                      <a:pt x="7381" y="18137"/>
                    </a:lnTo>
                    <a:lnTo>
                      <a:pt x="7316" y="18143"/>
                    </a:lnTo>
                    <a:lnTo>
                      <a:pt x="7249" y="18144"/>
                    </a:lnTo>
                    <a:lnTo>
                      <a:pt x="1286" y="18144"/>
                    </a:lnTo>
                    <a:lnTo>
                      <a:pt x="1220" y="18143"/>
                    </a:lnTo>
                    <a:lnTo>
                      <a:pt x="1155" y="18137"/>
                    </a:lnTo>
                    <a:lnTo>
                      <a:pt x="1091" y="18129"/>
                    </a:lnTo>
                    <a:lnTo>
                      <a:pt x="1027" y="18118"/>
                    </a:lnTo>
                    <a:lnTo>
                      <a:pt x="966" y="18103"/>
                    </a:lnTo>
                    <a:lnTo>
                      <a:pt x="904" y="18086"/>
                    </a:lnTo>
                    <a:lnTo>
                      <a:pt x="845" y="18065"/>
                    </a:lnTo>
                    <a:lnTo>
                      <a:pt x="787" y="18043"/>
                    </a:lnTo>
                    <a:lnTo>
                      <a:pt x="730" y="18016"/>
                    </a:lnTo>
                    <a:lnTo>
                      <a:pt x="674" y="17988"/>
                    </a:lnTo>
                    <a:lnTo>
                      <a:pt x="620" y="17957"/>
                    </a:lnTo>
                    <a:lnTo>
                      <a:pt x="569" y="17924"/>
                    </a:lnTo>
                    <a:lnTo>
                      <a:pt x="518" y="17888"/>
                    </a:lnTo>
                    <a:lnTo>
                      <a:pt x="470" y="17850"/>
                    </a:lnTo>
                    <a:lnTo>
                      <a:pt x="423" y="17809"/>
                    </a:lnTo>
                    <a:lnTo>
                      <a:pt x="377" y="17767"/>
                    </a:lnTo>
                    <a:lnTo>
                      <a:pt x="335" y="17722"/>
                    </a:lnTo>
                    <a:lnTo>
                      <a:pt x="295" y="17675"/>
                    </a:lnTo>
                    <a:lnTo>
                      <a:pt x="256" y="17626"/>
                    </a:lnTo>
                    <a:lnTo>
                      <a:pt x="221" y="17576"/>
                    </a:lnTo>
                    <a:lnTo>
                      <a:pt x="187" y="17524"/>
                    </a:lnTo>
                    <a:lnTo>
                      <a:pt x="156" y="17470"/>
                    </a:lnTo>
                    <a:lnTo>
                      <a:pt x="128" y="17414"/>
                    </a:lnTo>
                    <a:lnTo>
                      <a:pt x="101" y="17357"/>
                    </a:lnTo>
                    <a:lnTo>
                      <a:pt x="78" y="17299"/>
                    </a:lnTo>
                    <a:lnTo>
                      <a:pt x="58" y="17240"/>
                    </a:lnTo>
                    <a:lnTo>
                      <a:pt x="41" y="17178"/>
                    </a:lnTo>
                    <a:lnTo>
                      <a:pt x="26" y="17117"/>
                    </a:lnTo>
                    <a:lnTo>
                      <a:pt x="15" y="17054"/>
                    </a:lnTo>
                    <a:lnTo>
                      <a:pt x="7" y="16989"/>
                    </a:lnTo>
                    <a:lnTo>
                      <a:pt x="2" y="16924"/>
                    </a:lnTo>
                    <a:lnTo>
                      <a:pt x="0" y="16858"/>
                    </a:lnTo>
                    <a:lnTo>
                      <a:pt x="0" y="1285"/>
                    </a:lnTo>
                    <a:lnTo>
                      <a:pt x="2" y="1218"/>
                    </a:lnTo>
                    <a:lnTo>
                      <a:pt x="7" y="1153"/>
                    </a:lnTo>
                    <a:lnTo>
                      <a:pt x="15" y="1090"/>
                    </a:lnTo>
                    <a:lnTo>
                      <a:pt x="26" y="1027"/>
                    </a:lnTo>
                    <a:lnTo>
                      <a:pt x="41" y="964"/>
                    </a:lnTo>
                    <a:lnTo>
                      <a:pt x="58" y="904"/>
                    </a:lnTo>
                    <a:lnTo>
                      <a:pt x="78" y="845"/>
                    </a:lnTo>
                    <a:lnTo>
                      <a:pt x="101" y="785"/>
                    </a:lnTo>
                    <a:lnTo>
                      <a:pt x="128" y="728"/>
                    </a:lnTo>
                    <a:lnTo>
                      <a:pt x="156" y="674"/>
                    </a:lnTo>
                    <a:lnTo>
                      <a:pt x="187" y="620"/>
                    </a:lnTo>
                    <a:lnTo>
                      <a:pt x="221" y="567"/>
                    </a:lnTo>
                    <a:lnTo>
                      <a:pt x="256" y="517"/>
                    </a:lnTo>
                    <a:lnTo>
                      <a:pt x="295" y="468"/>
                    </a:lnTo>
                    <a:lnTo>
                      <a:pt x="335" y="422"/>
                    </a:lnTo>
                    <a:lnTo>
                      <a:pt x="377" y="377"/>
                    </a:lnTo>
                    <a:lnTo>
                      <a:pt x="423" y="334"/>
                    </a:lnTo>
                    <a:lnTo>
                      <a:pt x="470" y="294"/>
                    </a:lnTo>
                    <a:lnTo>
                      <a:pt x="518" y="255"/>
                    </a:lnTo>
                    <a:lnTo>
                      <a:pt x="569" y="220"/>
                    </a:lnTo>
                    <a:lnTo>
                      <a:pt x="620" y="186"/>
                    </a:lnTo>
                    <a:lnTo>
                      <a:pt x="674" y="155"/>
                    </a:lnTo>
                    <a:lnTo>
                      <a:pt x="730" y="126"/>
                    </a:lnTo>
                    <a:lnTo>
                      <a:pt x="787" y="101"/>
                    </a:lnTo>
                    <a:lnTo>
                      <a:pt x="845" y="77"/>
                    </a:lnTo>
                    <a:lnTo>
                      <a:pt x="904" y="58"/>
                    </a:lnTo>
                    <a:lnTo>
                      <a:pt x="966" y="40"/>
                    </a:lnTo>
                    <a:lnTo>
                      <a:pt x="1027" y="26"/>
                    </a:lnTo>
                    <a:lnTo>
                      <a:pt x="1091" y="15"/>
                    </a:lnTo>
                    <a:lnTo>
                      <a:pt x="1155" y="5"/>
                    </a:lnTo>
                    <a:lnTo>
                      <a:pt x="1220" y="1"/>
                    </a:lnTo>
                    <a:lnTo>
                      <a:pt x="1286" y="0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Freeform 15"/>
              <p:cNvSpPr>
                <a:spLocks/>
              </p:cNvSpPr>
              <p:nvPr/>
            </p:nvSpPr>
            <p:spPr bwMode="auto">
              <a:xfrm>
                <a:off x="6085150" y="1343764"/>
                <a:ext cx="2107793" cy="4526843"/>
              </a:xfrm>
              <a:custGeom>
                <a:avLst/>
                <a:gdLst>
                  <a:gd name="T0" fmla="*/ 7245 w 8370"/>
                  <a:gd name="T1" fmla="*/ 2 h 17971"/>
                  <a:gd name="T2" fmla="*/ 7422 w 8370"/>
                  <a:gd name="T3" fmla="*/ 24 h 17971"/>
                  <a:gd name="T4" fmla="*/ 7591 w 8370"/>
                  <a:gd name="T5" fmla="*/ 72 h 17971"/>
                  <a:gd name="T6" fmla="*/ 7748 w 8370"/>
                  <a:gd name="T7" fmla="*/ 143 h 17971"/>
                  <a:gd name="T8" fmla="*/ 7892 w 8370"/>
                  <a:gd name="T9" fmla="*/ 236 h 17971"/>
                  <a:gd name="T10" fmla="*/ 8022 w 8370"/>
                  <a:gd name="T11" fmla="*/ 348 h 17971"/>
                  <a:gd name="T12" fmla="*/ 8134 w 8370"/>
                  <a:gd name="T13" fmla="*/ 477 h 17971"/>
                  <a:gd name="T14" fmla="*/ 8226 w 8370"/>
                  <a:gd name="T15" fmla="*/ 622 h 17971"/>
                  <a:gd name="T16" fmla="*/ 8298 w 8370"/>
                  <a:gd name="T17" fmla="*/ 779 h 17971"/>
                  <a:gd name="T18" fmla="*/ 8346 w 8370"/>
                  <a:gd name="T19" fmla="*/ 947 h 17971"/>
                  <a:gd name="T20" fmla="*/ 8369 w 8370"/>
                  <a:gd name="T21" fmla="*/ 1124 h 17971"/>
                  <a:gd name="T22" fmla="*/ 8369 w 8370"/>
                  <a:gd name="T23" fmla="*/ 16847 h 17971"/>
                  <a:gd name="T24" fmla="*/ 8346 w 8370"/>
                  <a:gd name="T25" fmla="*/ 17024 h 17971"/>
                  <a:gd name="T26" fmla="*/ 8298 w 8370"/>
                  <a:gd name="T27" fmla="*/ 17193 h 17971"/>
                  <a:gd name="T28" fmla="*/ 8226 w 8370"/>
                  <a:gd name="T29" fmla="*/ 17350 h 17971"/>
                  <a:gd name="T30" fmla="*/ 8134 w 8370"/>
                  <a:gd name="T31" fmla="*/ 17494 h 17971"/>
                  <a:gd name="T32" fmla="*/ 8022 w 8370"/>
                  <a:gd name="T33" fmla="*/ 17624 h 17971"/>
                  <a:gd name="T34" fmla="*/ 7892 w 8370"/>
                  <a:gd name="T35" fmla="*/ 17735 h 17971"/>
                  <a:gd name="T36" fmla="*/ 7748 w 8370"/>
                  <a:gd name="T37" fmla="*/ 17828 h 17971"/>
                  <a:gd name="T38" fmla="*/ 7591 w 8370"/>
                  <a:gd name="T39" fmla="*/ 17900 h 17971"/>
                  <a:gd name="T40" fmla="*/ 7422 w 8370"/>
                  <a:gd name="T41" fmla="*/ 17947 h 17971"/>
                  <a:gd name="T42" fmla="*/ 7245 w 8370"/>
                  <a:gd name="T43" fmla="*/ 17970 h 17971"/>
                  <a:gd name="T44" fmla="*/ 1125 w 8370"/>
                  <a:gd name="T45" fmla="*/ 17970 h 17971"/>
                  <a:gd name="T46" fmla="*/ 948 w 8370"/>
                  <a:gd name="T47" fmla="*/ 17947 h 17971"/>
                  <a:gd name="T48" fmla="*/ 779 w 8370"/>
                  <a:gd name="T49" fmla="*/ 17900 h 17971"/>
                  <a:gd name="T50" fmla="*/ 622 w 8370"/>
                  <a:gd name="T51" fmla="*/ 17828 h 17971"/>
                  <a:gd name="T52" fmla="*/ 478 w 8370"/>
                  <a:gd name="T53" fmla="*/ 17735 h 17971"/>
                  <a:gd name="T54" fmla="*/ 349 w 8370"/>
                  <a:gd name="T55" fmla="*/ 17624 h 17971"/>
                  <a:gd name="T56" fmla="*/ 236 w 8370"/>
                  <a:gd name="T57" fmla="*/ 17494 h 17971"/>
                  <a:gd name="T58" fmla="*/ 144 w 8370"/>
                  <a:gd name="T59" fmla="*/ 17350 h 17971"/>
                  <a:gd name="T60" fmla="*/ 73 w 8370"/>
                  <a:gd name="T61" fmla="*/ 17193 h 17971"/>
                  <a:gd name="T62" fmla="*/ 24 w 8370"/>
                  <a:gd name="T63" fmla="*/ 17024 h 17971"/>
                  <a:gd name="T64" fmla="*/ 2 w 8370"/>
                  <a:gd name="T65" fmla="*/ 16847 h 17971"/>
                  <a:gd name="T66" fmla="*/ 2 w 8370"/>
                  <a:gd name="T67" fmla="*/ 1124 h 17971"/>
                  <a:gd name="T68" fmla="*/ 24 w 8370"/>
                  <a:gd name="T69" fmla="*/ 947 h 17971"/>
                  <a:gd name="T70" fmla="*/ 73 w 8370"/>
                  <a:gd name="T71" fmla="*/ 779 h 17971"/>
                  <a:gd name="T72" fmla="*/ 144 w 8370"/>
                  <a:gd name="T73" fmla="*/ 622 h 17971"/>
                  <a:gd name="T74" fmla="*/ 236 w 8370"/>
                  <a:gd name="T75" fmla="*/ 477 h 17971"/>
                  <a:gd name="T76" fmla="*/ 349 w 8370"/>
                  <a:gd name="T77" fmla="*/ 348 h 17971"/>
                  <a:gd name="T78" fmla="*/ 478 w 8370"/>
                  <a:gd name="T79" fmla="*/ 236 h 17971"/>
                  <a:gd name="T80" fmla="*/ 622 w 8370"/>
                  <a:gd name="T81" fmla="*/ 143 h 17971"/>
                  <a:gd name="T82" fmla="*/ 779 w 8370"/>
                  <a:gd name="T83" fmla="*/ 72 h 17971"/>
                  <a:gd name="T84" fmla="*/ 948 w 8370"/>
                  <a:gd name="T85" fmla="*/ 24 h 17971"/>
                  <a:gd name="T86" fmla="*/ 1125 w 8370"/>
                  <a:gd name="T87" fmla="*/ 2 h 17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370" h="17971">
                    <a:moveTo>
                      <a:pt x="1186" y="0"/>
                    </a:moveTo>
                    <a:lnTo>
                      <a:pt x="7184" y="0"/>
                    </a:lnTo>
                    <a:lnTo>
                      <a:pt x="7245" y="2"/>
                    </a:lnTo>
                    <a:lnTo>
                      <a:pt x="7304" y="6"/>
                    </a:lnTo>
                    <a:lnTo>
                      <a:pt x="7364" y="14"/>
                    </a:lnTo>
                    <a:lnTo>
                      <a:pt x="7422" y="24"/>
                    </a:lnTo>
                    <a:lnTo>
                      <a:pt x="7480" y="37"/>
                    </a:lnTo>
                    <a:lnTo>
                      <a:pt x="7536" y="53"/>
                    </a:lnTo>
                    <a:lnTo>
                      <a:pt x="7591" y="72"/>
                    </a:lnTo>
                    <a:lnTo>
                      <a:pt x="7644" y="94"/>
                    </a:lnTo>
                    <a:lnTo>
                      <a:pt x="7697" y="117"/>
                    </a:lnTo>
                    <a:lnTo>
                      <a:pt x="7748" y="143"/>
                    </a:lnTo>
                    <a:lnTo>
                      <a:pt x="7798" y="173"/>
                    </a:lnTo>
                    <a:lnTo>
                      <a:pt x="7846" y="203"/>
                    </a:lnTo>
                    <a:lnTo>
                      <a:pt x="7892" y="236"/>
                    </a:lnTo>
                    <a:lnTo>
                      <a:pt x="7937" y="272"/>
                    </a:lnTo>
                    <a:lnTo>
                      <a:pt x="7981" y="308"/>
                    </a:lnTo>
                    <a:lnTo>
                      <a:pt x="8022" y="348"/>
                    </a:lnTo>
                    <a:lnTo>
                      <a:pt x="8061" y="389"/>
                    </a:lnTo>
                    <a:lnTo>
                      <a:pt x="8098" y="432"/>
                    </a:lnTo>
                    <a:lnTo>
                      <a:pt x="8134" y="477"/>
                    </a:lnTo>
                    <a:lnTo>
                      <a:pt x="8167" y="524"/>
                    </a:lnTo>
                    <a:lnTo>
                      <a:pt x="8198" y="572"/>
                    </a:lnTo>
                    <a:lnTo>
                      <a:pt x="8226" y="622"/>
                    </a:lnTo>
                    <a:lnTo>
                      <a:pt x="8252" y="673"/>
                    </a:lnTo>
                    <a:lnTo>
                      <a:pt x="8276" y="725"/>
                    </a:lnTo>
                    <a:lnTo>
                      <a:pt x="8298" y="779"/>
                    </a:lnTo>
                    <a:lnTo>
                      <a:pt x="8316" y="834"/>
                    </a:lnTo>
                    <a:lnTo>
                      <a:pt x="8332" y="890"/>
                    </a:lnTo>
                    <a:lnTo>
                      <a:pt x="8346" y="947"/>
                    </a:lnTo>
                    <a:lnTo>
                      <a:pt x="8356" y="1005"/>
                    </a:lnTo>
                    <a:lnTo>
                      <a:pt x="8364" y="1064"/>
                    </a:lnTo>
                    <a:lnTo>
                      <a:pt x="8369" y="1124"/>
                    </a:lnTo>
                    <a:lnTo>
                      <a:pt x="8370" y="1185"/>
                    </a:lnTo>
                    <a:lnTo>
                      <a:pt x="8370" y="16786"/>
                    </a:lnTo>
                    <a:lnTo>
                      <a:pt x="8369" y="16847"/>
                    </a:lnTo>
                    <a:lnTo>
                      <a:pt x="8364" y="16907"/>
                    </a:lnTo>
                    <a:lnTo>
                      <a:pt x="8356" y="16966"/>
                    </a:lnTo>
                    <a:lnTo>
                      <a:pt x="8346" y="17024"/>
                    </a:lnTo>
                    <a:lnTo>
                      <a:pt x="8332" y="17081"/>
                    </a:lnTo>
                    <a:lnTo>
                      <a:pt x="8316" y="17138"/>
                    </a:lnTo>
                    <a:lnTo>
                      <a:pt x="8298" y="17193"/>
                    </a:lnTo>
                    <a:lnTo>
                      <a:pt x="8276" y="17246"/>
                    </a:lnTo>
                    <a:lnTo>
                      <a:pt x="8252" y="17299"/>
                    </a:lnTo>
                    <a:lnTo>
                      <a:pt x="8226" y="17350"/>
                    </a:lnTo>
                    <a:lnTo>
                      <a:pt x="8198" y="17399"/>
                    </a:lnTo>
                    <a:lnTo>
                      <a:pt x="8167" y="17448"/>
                    </a:lnTo>
                    <a:lnTo>
                      <a:pt x="8134" y="17494"/>
                    </a:lnTo>
                    <a:lnTo>
                      <a:pt x="8098" y="17539"/>
                    </a:lnTo>
                    <a:lnTo>
                      <a:pt x="8061" y="17583"/>
                    </a:lnTo>
                    <a:lnTo>
                      <a:pt x="8022" y="17624"/>
                    </a:lnTo>
                    <a:lnTo>
                      <a:pt x="7981" y="17662"/>
                    </a:lnTo>
                    <a:lnTo>
                      <a:pt x="7937" y="17700"/>
                    </a:lnTo>
                    <a:lnTo>
                      <a:pt x="7892" y="17735"/>
                    </a:lnTo>
                    <a:lnTo>
                      <a:pt x="7846" y="17768"/>
                    </a:lnTo>
                    <a:lnTo>
                      <a:pt x="7798" y="17799"/>
                    </a:lnTo>
                    <a:lnTo>
                      <a:pt x="7748" y="17828"/>
                    </a:lnTo>
                    <a:lnTo>
                      <a:pt x="7697" y="17854"/>
                    </a:lnTo>
                    <a:lnTo>
                      <a:pt x="7644" y="17878"/>
                    </a:lnTo>
                    <a:lnTo>
                      <a:pt x="7591" y="17900"/>
                    </a:lnTo>
                    <a:lnTo>
                      <a:pt x="7536" y="17918"/>
                    </a:lnTo>
                    <a:lnTo>
                      <a:pt x="7480" y="17934"/>
                    </a:lnTo>
                    <a:lnTo>
                      <a:pt x="7422" y="17947"/>
                    </a:lnTo>
                    <a:lnTo>
                      <a:pt x="7364" y="17958"/>
                    </a:lnTo>
                    <a:lnTo>
                      <a:pt x="7304" y="17966"/>
                    </a:lnTo>
                    <a:lnTo>
                      <a:pt x="7245" y="17970"/>
                    </a:lnTo>
                    <a:lnTo>
                      <a:pt x="7184" y="17971"/>
                    </a:lnTo>
                    <a:lnTo>
                      <a:pt x="1186" y="17971"/>
                    </a:lnTo>
                    <a:lnTo>
                      <a:pt x="1125" y="17970"/>
                    </a:lnTo>
                    <a:lnTo>
                      <a:pt x="1065" y="17966"/>
                    </a:lnTo>
                    <a:lnTo>
                      <a:pt x="1006" y="17958"/>
                    </a:lnTo>
                    <a:lnTo>
                      <a:pt x="948" y="17947"/>
                    </a:lnTo>
                    <a:lnTo>
                      <a:pt x="891" y="17934"/>
                    </a:lnTo>
                    <a:lnTo>
                      <a:pt x="835" y="17918"/>
                    </a:lnTo>
                    <a:lnTo>
                      <a:pt x="779" y="17900"/>
                    </a:lnTo>
                    <a:lnTo>
                      <a:pt x="725" y="17878"/>
                    </a:lnTo>
                    <a:lnTo>
                      <a:pt x="673" y="17854"/>
                    </a:lnTo>
                    <a:lnTo>
                      <a:pt x="622" y="17828"/>
                    </a:lnTo>
                    <a:lnTo>
                      <a:pt x="573" y="17799"/>
                    </a:lnTo>
                    <a:lnTo>
                      <a:pt x="525" y="17768"/>
                    </a:lnTo>
                    <a:lnTo>
                      <a:pt x="478" y="17735"/>
                    </a:lnTo>
                    <a:lnTo>
                      <a:pt x="432" y="17700"/>
                    </a:lnTo>
                    <a:lnTo>
                      <a:pt x="390" y="17662"/>
                    </a:lnTo>
                    <a:lnTo>
                      <a:pt x="349" y="17624"/>
                    </a:lnTo>
                    <a:lnTo>
                      <a:pt x="309" y="17583"/>
                    </a:lnTo>
                    <a:lnTo>
                      <a:pt x="272" y="17539"/>
                    </a:lnTo>
                    <a:lnTo>
                      <a:pt x="236" y="17494"/>
                    </a:lnTo>
                    <a:lnTo>
                      <a:pt x="203" y="17448"/>
                    </a:lnTo>
                    <a:lnTo>
                      <a:pt x="172" y="17399"/>
                    </a:lnTo>
                    <a:lnTo>
                      <a:pt x="144" y="17350"/>
                    </a:lnTo>
                    <a:lnTo>
                      <a:pt x="118" y="17299"/>
                    </a:lnTo>
                    <a:lnTo>
                      <a:pt x="94" y="17246"/>
                    </a:lnTo>
                    <a:lnTo>
                      <a:pt x="73" y="17193"/>
                    </a:lnTo>
                    <a:lnTo>
                      <a:pt x="54" y="17138"/>
                    </a:lnTo>
                    <a:lnTo>
                      <a:pt x="38" y="17081"/>
                    </a:lnTo>
                    <a:lnTo>
                      <a:pt x="24" y="17024"/>
                    </a:lnTo>
                    <a:lnTo>
                      <a:pt x="14" y="16966"/>
                    </a:lnTo>
                    <a:lnTo>
                      <a:pt x="7" y="16907"/>
                    </a:lnTo>
                    <a:lnTo>
                      <a:pt x="2" y="16847"/>
                    </a:lnTo>
                    <a:lnTo>
                      <a:pt x="0" y="16786"/>
                    </a:lnTo>
                    <a:lnTo>
                      <a:pt x="0" y="1185"/>
                    </a:lnTo>
                    <a:lnTo>
                      <a:pt x="2" y="1124"/>
                    </a:lnTo>
                    <a:lnTo>
                      <a:pt x="7" y="1064"/>
                    </a:lnTo>
                    <a:lnTo>
                      <a:pt x="14" y="1005"/>
                    </a:lnTo>
                    <a:lnTo>
                      <a:pt x="24" y="947"/>
                    </a:lnTo>
                    <a:lnTo>
                      <a:pt x="38" y="890"/>
                    </a:lnTo>
                    <a:lnTo>
                      <a:pt x="54" y="834"/>
                    </a:lnTo>
                    <a:lnTo>
                      <a:pt x="73" y="779"/>
                    </a:lnTo>
                    <a:lnTo>
                      <a:pt x="94" y="725"/>
                    </a:lnTo>
                    <a:lnTo>
                      <a:pt x="118" y="673"/>
                    </a:lnTo>
                    <a:lnTo>
                      <a:pt x="144" y="622"/>
                    </a:lnTo>
                    <a:lnTo>
                      <a:pt x="172" y="572"/>
                    </a:lnTo>
                    <a:lnTo>
                      <a:pt x="203" y="524"/>
                    </a:lnTo>
                    <a:lnTo>
                      <a:pt x="236" y="477"/>
                    </a:lnTo>
                    <a:lnTo>
                      <a:pt x="272" y="432"/>
                    </a:lnTo>
                    <a:lnTo>
                      <a:pt x="309" y="389"/>
                    </a:lnTo>
                    <a:lnTo>
                      <a:pt x="349" y="348"/>
                    </a:lnTo>
                    <a:lnTo>
                      <a:pt x="390" y="308"/>
                    </a:lnTo>
                    <a:lnTo>
                      <a:pt x="432" y="272"/>
                    </a:lnTo>
                    <a:lnTo>
                      <a:pt x="478" y="236"/>
                    </a:lnTo>
                    <a:lnTo>
                      <a:pt x="525" y="203"/>
                    </a:lnTo>
                    <a:lnTo>
                      <a:pt x="573" y="173"/>
                    </a:lnTo>
                    <a:lnTo>
                      <a:pt x="622" y="143"/>
                    </a:lnTo>
                    <a:lnTo>
                      <a:pt x="673" y="117"/>
                    </a:lnTo>
                    <a:lnTo>
                      <a:pt x="725" y="94"/>
                    </a:lnTo>
                    <a:lnTo>
                      <a:pt x="779" y="72"/>
                    </a:lnTo>
                    <a:lnTo>
                      <a:pt x="835" y="53"/>
                    </a:lnTo>
                    <a:lnTo>
                      <a:pt x="891" y="37"/>
                    </a:lnTo>
                    <a:lnTo>
                      <a:pt x="948" y="24"/>
                    </a:lnTo>
                    <a:lnTo>
                      <a:pt x="1006" y="14"/>
                    </a:lnTo>
                    <a:lnTo>
                      <a:pt x="1065" y="6"/>
                    </a:lnTo>
                    <a:lnTo>
                      <a:pt x="1125" y="2"/>
                    </a:lnTo>
                    <a:lnTo>
                      <a:pt x="1186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16"/>
              <p:cNvSpPr>
                <a:spLocks/>
              </p:cNvSpPr>
              <p:nvPr/>
            </p:nvSpPr>
            <p:spPr bwMode="auto">
              <a:xfrm>
                <a:off x="6097237" y="1357363"/>
                <a:ext cx="2085128" cy="4499645"/>
              </a:xfrm>
              <a:custGeom>
                <a:avLst/>
                <a:gdLst>
                  <a:gd name="T0" fmla="*/ 7193 w 8280"/>
                  <a:gd name="T1" fmla="*/ 2 h 17873"/>
                  <a:gd name="T2" fmla="*/ 7364 w 8280"/>
                  <a:gd name="T3" fmla="*/ 23 h 17873"/>
                  <a:gd name="T4" fmla="*/ 7527 w 8280"/>
                  <a:gd name="T5" fmla="*/ 70 h 17873"/>
                  <a:gd name="T6" fmla="*/ 7679 w 8280"/>
                  <a:gd name="T7" fmla="*/ 140 h 17873"/>
                  <a:gd name="T8" fmla="*/ 7819 w 8280"/>
                  <a:gd name="T9" fmla="*/ 228 h 17873"/>
                  <a:gd name="T10" fmla="*/ 7944 w 8280"/>
                  <a:gd name="T11" fmla="*/ 337 h 17873"/>
                  <a:gd name="T12" fmla="*/ 8052 w 8280"/>
                  <a:gd name="T13" fmla="*/ 462 h 17873"/>
                  <a:gd name="T14" fmla="*/ 8142 w 8280"/>
                  <a:gd name="T15" fmla="*/ 601 h 17873"/>
                  <a:gd name="T16" fmla="*/ 8211 w 8280"/>
                  <a:gd name="T17" fmla="*/ 754 h 17873"/>
                  <a:gd name="T18" fmla="*/ 8257 w 8280"/>
                  <a:gd name="T19" fmla="*/ 916 h 17873"/>
                  <a:gd name="T20" fmla="*/ 8279 w 8280"/>
                  <a:gd name="T21" fmla="*/ 1088 h 17873"/>
                  <a:gd name="T22" fmla="*/ 8279 w 8280"/>
                  <a:gd name="T23" fmla="*/ 16786 h 17873"/>
                  <a:gd name="T24" fmla="*/ 8257 w 8280"/>
                  <a:gd name="T25" fmla="*/ 16957 h 17873"/>
                  <a:gd name="T26" fmla="*/ 8211 w 8280"/>
                  <a:gd name="T27" fmla="*/ 17120 h 17873"/>
                  <a:gd name="T28" fmla="*/ 8142 w 8280"/>
                  <a:gd name="T29" fmla="*/ 17273 h 17873"/>
                  <a:gd name="T30" fmla="*/ 8052 w 8280"/>
                  <a:gd name="T31" fmla="*/ 17412 h 17873"/>
                  <a:gd name="T32" fmla="*/ 7944 w 8280"/>
                  <a:gd name="T33" fmla="*/ 17536 h 17873"/>
                  <a:gd name="T34" fmla="*/ 7819 w 8280"/>
                  <a:gd name="T35" fmla="*/ 17644 h 17873"/>
                  <a:gd name="T36" fmla="*/ 7679 w 8280"/>
                  <a:gd name="T37" fmla="*/ 17734 h 17873"/>
                  <a:gd name="T38" fmla="*/ 7527 w 8280"/>
                  <a:gd name="T39" fmla="*/ 17803 h 17873"/>
                  <a:gd name="T40" fmla="*/ 7364 w 8280"/>
                  <a:gd name="T41" fmla="*/ 17849 h 17873"/>
                  <a:gd name="T42" fmla="*/ 7193 w 8280"/>
                  <a:gd name="T43" fmla="*/ 17871 h 17873"/>
                  <a:gd name="T44" fmla="*/ 1088 w 8280"/>
                  <a:gd name="T45" fmla="*/ 17871 h 17873"/>
                  <a:gd name="T46" fmla="*/ 915 w 8280"/>
                  <a:gd name="T47" fmla="*/ 17849 h 17873"/>
                  <a:gd name="T48" fmla="*/ 752 w 8280"/>
                  <a:gd name="T49" fmla="*/ 17803 h 17873"/>
                  <a:gd name="T50" fmla="*/ 601 w 8280"/>
                  <a:gd name="T51" fmla="*/ 17734 h 17873"/>
                  <a:gd name="T52" fmla="*/ 461 w 8280"/>
                  <a:gd name="T53" fmla="*/ 17644 h 17873"/>
                  <a:gd name="T54" fmla="*/ 336 w 8280"/>
                  <a:gd name="T55" fmla="*/ 17536 h 17873"/>
                  <a:gd name="T56" fmla="*/ 228 w 8280"/>
                  <a:gd name="T57" fmla="*/ 17412 h 17873"/>
                  <a:gd name="T58" fmla="*/ 139 w 8280"/>
                  <a:gd name="T59" fmla="*/ 17273 h 17873"/>
                  <a:gd name="T60" fmla="*/ 69 w 8280"/>
                  <a:gd name="T61" fmla="*/ 17120 h 17873"/>
                  <a:gd name="T62" fmla="*/ 22 w 8280"/>
                  <a:gd name="T63" fmla="*/ 16957 h 17873"/>
                  <a:gd name="T64" fmla="*/ 1 w 8280"/>
                  <a:gd name="T65" fmla="*/ 16786 h 17873"/>
                  <a:gd name="T66" fmla="*/ 1 w 8280"/>
                  <a:gd name="T67" fmla="*/ 1088 h 17873"/>
                  <a:gd name="T68" fmla="*/ 22 w 8280"/>
                  <a:gd name="T69" fmla="*/ 916 h 17873"/>
                  <a:gd name="T70" fmla="*/ 69 w 8280"/>
                  <a:gd name="T71" fmla="*/ 754 h 17873"/>
                  <a:gd name="T72" fmla="*/ 139 w 8280"/>
                  <a:gd name="T73" fmla="*/ 601 h 17873"/>
                  <a:gd name="T74" fmla="*/ 228 w 8280"/>
                  <a:gd name="T75" fmla="*/ 462 h 17873"/>
                  <a:gd name="T76" fmla="*/ 336 w 8280"/>
                  <a:gd name="T77" fmla="*/ 337 h 17873"/>
                  <a:gd name="T78" fmla="*/ 461 w 8280"/>
                  <a:gd name="T79" fmla="*/ 228 h 17873"/>
                  <a:gd name="T80" fmla="*/ 601 w 8280"/>
                  <a:gd name="T81" fmla="*/ 140 h 17873"/>
                  <a:gd name="T82" fmla="*/ 752 w 8280"/>
                  <a:gd name="T83" fmla="*/ 70 h 17873"/>
                  <a:gd name="T84" fmla="*/ 915 w 8280"/>
                  <a:gd name="T85" fmla="*/ 23 h 17873"/>
                  <a:gd name="T86" fmla="*/ 1088 w 8280"/>
                  <a:gd name="T87" fmla="*/ 2 h 178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280" h="17873">
                    <a:moveTo>
                      <a:pt x="1146" y="0"/>
                    </a:moveTo>
                    <a:lnTo>
                      <a:pt x="7134" y="0"/>
                    </a:lnTo>
                    <a:lnTo>
                      <a:pt x="7193" y="2"/>
                    </a:lnTo>
                    <a:lnTo>
                      <a:pt x="7250" y="6"/>
                    </a:lnTo>
                    <a:lnTo>
                      <a:pt x="7308" y="14"/>
                    </a:lnTo>
                    <a:lnTo>
                      <a:pt x="7364" y="23"/>
                    </a:lnTo>
                    <a:lnTo>
                      <a:pt x="7420" y="37"/>
                    </a:lnTo>
                    <a:lnTo>
                      <a:pt x="7474" y="52"/>
                    </a:lnTo>
                    <a:lnTo>
                      <a:pt x="7527" y="70"/>
                    </a:lnTo>
                    <a:lnTo>
                      <a:pt x="7579" y="90"/>
                    </a:lnTo>
                    <a:lnTo>
                      <a:pt x="7630" y="113"/>
                    </a:lnTo>
                    <a:lnTo>
                      <a:pt x="7679" y="140"/>
                    </a:lnTo>
                    <a:lnTo>
                      <a:pt x="7727" y="167"/>
                    </a:lnTo>
                    <a:lnTo>
                      <a:pt x="7774" y="197"/>
                    </a:lnTo>
                    <a:lnTo>
                      <a:pt x="7819" y="228"/>
                    </a:lnTo>
                    <a:lnTo>
                      <a:pt x="7863" y="263"/>
                    </a:lnTo>
                    <a:lnTo>
                      <a:pt x="7904" y="299"/>
                    </a:lnTo>
                    <a:lnTo>
                      <a:pt x="7944" y="337"/>
                    </a:lnTo>
                    <a:lnTo>
                      <a:pt x="7981" y="377"/>
                    </a:lnTo>
                    <a:lnTo>
                      <a:pt x="8018" y="419"/>
                    </a:lnTo>
                    <a:lnTo>
                      <a:pt x="8052" y="462"/>
                    </a:lnTo>
                    <a:lnTo>
                      <a:pt x="8084" y="507"/>
                    </a:lnTo>
                    <a:lnTo>
                      <a:pt x="8114" y="553"/>
                    </a:lnTo>
                    <a:lnTo>
                      <a:pt x="8142" y="601"/>
                    </a:lnTo>
                    <a:lnTo>
                      <a:pt x="8167" y="650"/>
                    </a:lnTo>
                    <a:lnTo>
                      <a:pt x="8190" y="702"/>
                    </a:lnTo>
                    <a:lnTo>
                      <a:pt x="8211" y="754"/>
                    </a:lnTo>
                    <a:lnTo>
                      <a:pt x="8229" y="806"/>
                    </a:lnTo>
                    <a:lnTo>
                      <a:pt x="8245" y="861"/>
                    </a:lnTo>
                    <a:lnTo>
                      <a:pt x="8257" y="916"/>
                    </a:lnTo>
                    <a:lnTo>
                      <a:pt x="8268" y="973"/>
                    </a:lnTo>
                    <a:lnTo>
                      <a:pt x="8275" y="1030"/>
                    </a:lnTo>
                    <a:lnTo>
                      <a:pt x="8279" y="1088"/>
                    </a:lnTo>
                    <a:lnTo>
                      <a:pt x="8280" y="1146"/>
                    </a:lnTo>
                    <a:lnTo>
                      <a:pt x="8280" y="16727"/>
                    </a:lnTo>
                    <a:lnTo>
                      <a:pt x="8279" y="16786"/>
                    </a:lnTo>
                    <a:lnTo>
                      <a:pt x="8275" y="16844"/>
                    </a:lnTo>
                    <a:lnTo>
                      <a:pt x="8268" y="16901"/>
                    </a:lnTo>
                    <a:lnTo>
                      <a:pt x="8257" y="16957"/>
                    </a:lnTo>
                    <a:lnTo>
                      <a:pt x="8245" y="17013"/>
                    </a:lnTo>
                    <a:lnTo>
                      <a:pt x="8229" y="17066"/>
                    </a:lnTo>
                    <a:lnTo>
                      <a:pt x="8211" y="17120"/>
                    </a:lnTo>
                    <a:lnTo>
                      <a:pt x="8190" y="17172"/>
                    </a:lnTo>
                    <a:lnTo>
                      <a:pt x="8167" y="17222"/>
                    </a:lnTo>
                    <a:lnTo>
                      <a:pt x="8142" y="17273"/>
                    </a:lnTo>
                    <a:lnTo>
                      <a:pt x="8114" y="17320"/>
                    </a:lnTo>
                    <a:lnTo>
                      <a:pt x="8084" y="17366"/>
                    </a:lnTo>
                    <a:lnTo>
                      <a:pt x="8052" y="17412"/>
                    </a:lnTo>
                    <a:lnTo>
                      <a:pt x="8018" y="17455"/>
                    </a:lnTo>
                    <a:lnTo>
                      <a:pt x="7981" y="17496"/>
                    </a:lnTo>
                    <a:lnTo>
                      <a:pt x="7944" y="17536"/>
                    </a:lnTo>
                    <a:lnTo>
                      <a:pt x="7904" y="17575"/>
                    </a:lnTo>
                    <a:lnTo>
                      <a:pt x="7863" y="17610"/>
                    </a:lnTo>
                    <a:lnTo>
                      <a:pt x="7819" y="17644"/>
                    </a:lnTo>
                    <a:lnTo>
                      <a:pt x="7774" y="17676"/>
                    </a:lnTo>
                    <a:lnTo>
                      <a:pt x="7727" y="17707"/>
                    </a:lnTo>
                    <a:lnTo>
                      <a:pt x="7679" y="17734"/>
                    </a:lnTo>
                    <a:lnTo>
                      <a:pt x="7630" y="17759"/>
                    </a:lnTo>
                    <a:lnTo>
                      <a:pt x="7579" y="17782"/>
                    </a:lnTo>
                    <a:lnTo>
                      <a:pt x="7527" y="17803"/>
                    </a:lnTo>
                    <a:lnTo>
                      <a:pt x="7474" y="17821"/>
                    </a:lnTo>
                    <a:lnTo>
                      <a:pt x="7420" y="17837"/>
                    </a:lnTo>
                    <a:lnTo>
                      <a:pt x="7364" y="17849"/>
                    </a:lnTo>
                    <a:lnTo>
                      <a:pt x="7308" y="17860"/>
                    </a:lnTo>
                    <a:lnTo>
                      <a:pt x="7250" y="17868"/>
                    </a:lnTo>
                    <a:lnTo>
                      <a:pt x="7193" y="17871"/>
                    </a:lnTo>
                    <a:lnTo>
                      <a:pt x="7134" y="17873"/>
                    </a:lnTo>
                    <a:lnTo>
                      <a:pt x="1146" y="17873"/>
                    </a:lnTo>
                    <a:lnTo>
                      <a:pt x="1088" y="17871"/>
                    </a:lnTo>
                    <a:lnTo>
                      <a:pt x="1029" y="17868"/>
                    </a:lnTo>
                    <a:lnTo>
                      <a:pt x="972" y="17860"/>
                    </a:lnTo>
                    <a:lnTo>
                      <a:pt x="915" y="17849"/>
                    </a:lnTo>
                    <a:lnTo>
                      <a:pt x="861" y="17837"/>
                    </a:lnTo>
                    <a:lnTo>
                      <a:pt x="806" y="17821"/>
                    </a:lnTo>
                    <a:lnTo>
                      <a:pt x="752" y="17803"/>
                    </a:lnTo>
                    <a:lnTo>
                      <a:pt x="701" y="17782"/>
                    </a:lnTo>
                    <a:lnTo>
                      <a:pt x="650" y="17759"/>
                    </a:lnTo>
                    <a:lnTo>
                      <a:pt x="601" y="17734"/>
                    </a:lnTo>
                    <a:lnTo>
                      <a:pt x="553" y="17707"/>
                    </a:lnTo>
                    <a:lnTo>
                      <a:pt x="506" y="17676"/>
                    </a:lnTo>
                    <a:lnTo>
                      <a:pt x="461" y="17644"/>
                    </a:lnTo>
                    <a:lnTo>
                      <a:pt x="418" y="17610"/>
                    </a:lnTo>
                    <a:lnTo>
                      <a:pt x="376" y="17575"/>
                    </a:lnTo>
                    <a:lnTo>
                      <a:pt x="336" y="17536"/>
                    </a:lnTo>
                    <a:lnTo>
                      <a:pt x="298" y="17496"/>
                    </a:lnTo>
                    <a:lnTo>
                      <a:pt x="262" y="17455"/>
                    </a:lnTo>
                    <a:lnTo>
                      <a:pt x="228" y="17412"/>
                    </a:lnTo>
                    <a:lnTo>
                      <a:pt x="196" y="17366"/>
                    </a:lnTo>
                    <a:lnTo>
                      <a:pt x="166" y="17320"/>
                    </a:lnTo>
                    <a:lnTo>
                      <a:pt x="139" y="17273"/>
                    </a:lnTo>
                    <a:lnTo>
                      <a:pt x="112" y="17222"/>
                    </a:lnTo>
                    <a:lnTo>
                      <a:pt x="90" y="17172"/>
                    </a:lnTo>
                    <a:lnTo>
                      <a:pt x="69" y="17120"/>
                    </a:lnTo>
                    <a:lnTo>
                      <a:pt x="51" y="17066"/>
                    </a:lnTo>
                    <a:lnTo>
                      <a:pt x="36" y="17013"/>
                    </a:lnTo>
                    <a:lnTo>
                      <a:pt x="22" y="16957"/>
                    </a:lnTo>
                    <a:lnTo>
                      <a:pt x="13" y="16901"/>
                    </a:lnTo>
                    <a:lnTo>
                      <a:pt x="5" y="16844"/>
                    </a:lnTo>
                    <a:lnTo>
                      <a:pt x="1" y="16786"/>
                    </a:lnTo>
                    <a:lnTo>
                      <a:pt x="0" y="16727"/>
                    </a:lnTo>
                    <a:lnTo>
                      <a:pt x="0" y="1146"/>
                    </a:lnTo>
                    <a:lnTo>
                      <a:pt x="1" y="1088"/>
                    </a:lnTo>
                    <a:lnTo>
                      <a:pt x="5" y="1030"/>
                    </a:lnTo>
                    <a:lnTo>
                      <a:pt x="13" y="973"/>
                    </a:lnTo>
                    <a:lnTo>
                      <a:pt x="22" y="916"/>
                    </a:lnTo>
                    <a:lnTo>
                      <a:pt x="36" y="861"/>
                    </a:lnTo>
                    <a:lnTo>
                      <a:pt x="51" y="806"/>
                    </a:lnTo>
                    <a:lnTo>
                      <a:pt x="69" y="754"/>
                    </a:lnTo>
                    <a:lnTo>
                      <a:pt x="90" y="702"/>
                    </a:lnTo>
                    <a:lnTo>
                      <a:pt x="112" y="650"/>
                    </a:lnTo>
                    <a:lnTo>
                      <a:pt x="139" y="601"/>
                    </a:lnTo>
                    <a:lnTo>
                      <a:pt x="166" y="553"/>
                    </a:lnTo>
                    <a:lnTo>
                      <a:pt x="196" y="507"/>
                    </a:lnTo>
                    <a:lnTo>
                      <a:pt x="228" y="462"/>
                    </a:lnTo>
                    <a:lnTo>
                      <a:pt x="262" y="419"/>
                    </a:lnTo>
                    <a:lnTo>
                      <a:pt x="298" y="377"/>
                    </a:lnTo>
                    <a:lnTo>
                      <a:pt x="336" y="337"/>
                    </a:lnTo>
                    <a:lnTo>
                      <a:pt x="376" y="299"/>
                    </a:lnTo>
                    <a:lnTo>
                      <a:pt x="418" y="263"/>
                    </a:lnTo>
                    <a:lnTo>
                      <a:pt x="461" y="228"/>
                    </a:lnTo>
                    <a:lnTo>
                      <a:pt x="506" y="197"/>
                    </a:lnTo>
                    <a:lnTo>
                      <a:pt x="553" y="167"/>
                    </a:lnTo>
                    <a:lnTo>
                      <a:pt x="601" y="140"/>
                    </a:lnTo>
                    <a:lnTo>
                      <a:pt x="650" y="113"/>
                    </a:lnTo>
                    <a:lnTo>
                      <a:pt x="701" y="90"/>
                    </a:lnTo>
                    <a:lnTo>
                      <a:pt x="752" y="70"/>
                    </a:lnTo>
                    <a:lnTo>
                      <a:pt x="806" y="52"/>
                    </a:lnTo>
                    <a:lnTo>
                      <a:pt x="861" y="37"/>
                    </a:lnTo>
                    <a:lnTo>
                      <a:pt x="915" y="23"/>
                    </a:lnTo>
                    <a:lnTo>
                      <a:pt x="972" y="14"/>
                    </a:lnTo>
                    <a:lnTo>
                      <a:pt x="1029" y="6"/>
                    </a:lnTo>
                    <a:lnTo>
                      <a:pt x="1088" y="2"/>
                    </a:lnTo>
                    <a:lnTo>
                      <a:pt x="1146" y="0"/>
                    </a:lnTo>
                    <a:close/>
                  </a:path>
                </a:pathLst>
              </a:custGeom>
              <a:solidFill>
                <a:srgbClr val="999BA5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Freeform 17"/>
              <p:cNvSpPr>
                <a:spLocks/>
              </p:cNvSpPr>
              <p:nvPr/>
            </p:nvSpPr>
            <p:spPr bwMode="auto">
              <a:xfrm>
                <a:off x="6112345" y="1372472"/>
                <a:ext cx="2053399" cy="4469426"/>
              </a:xfrm>
              <a:custGeom>
                <a:avLst/>
                <a:gdLst>
                  <a:gd name="T0" fmla="*/ 7129 w 8158"/>
                  <a:gd name="T1" fmla="*/ 1 h 17752"/>
                  <a:gd name="T2" fmla="*/ 7291 w 8158"/>
                  <a:gd name="T3" fmla="*/ 22 h 17752"/>
                  <a:gd name="T4" fmla="*/ 7445 w 8158"/>
                  <a:gd name="T5" fmla="*/ 66 h 17752"/>
                  <a:gd name="T6" fmla="*/ 7589 w 8158"/>
                  <a:gd name="T7" fmla="*/ 131 h 17752"/>
                  <a:gd name="T8" fmla="*/ 7721 w 8158"/>
                  <a:gd name="T9" fmla="*/ 215 h 17752"/>
                  <a:gd name="T10" fmla="*/ 7839 w 8158"/>
                  <a:gd name="T11" fmla="*/ 318 h 17752"/>
                  <a:gd name="T12" fmla="*/ 7942 w 8158"/>
                  <a:gd name="T13" fmla="*/ 436 h 17752"/>
                  <a:gd name="T14" fmla="*/ 8026 w 8158"/>
                  <a:gd name="T15" fmla="*/ 568 h 17752"/>
                  <a:gd name="T16" fmla="*/ 8092 w 8158"/>
                  <a:gd name="T17" fmla="*/ 712 h 17752"/>
                  <a:gd name="T18" fmla="*/ 8136 w 8158"/>
                  <a:gd name="T19" fmla="*/ 866 h 17752"/>
                  <a:gd name="T20" fmla="*/ 8157 w 8158"/>
                  <a:gd name="T21" fmla="*/ 1028 h 17752"/>
                  <a:gd name="T22" fmla="*/ 8157 w 8158"/>
                  <a:gd name="T23" fmla="*/ 16724 h 17752"/>
                  <a:gd name="T24" fmla="*/ 8136 w 8158"/>
                  <a:gd name="T25" fmla="*/ 16886 h 17752"/>
                  <a:gd name="T26" fmla="*/ 8092 w 8158"/>
                  <a:gd name="T27" fmla="*/ 17039 h 17752"/>
                  <a:gd name="T28" fmla="*/ 8026 w 8158"/>
                  <a:gd name="T29" fmla="*/ 17183 h 17752"/>
                  <a:gd name="T30" fmla="*/ 7942 w 8158"/>
                  <a:gd name="T31" fmla="*/ 17315 h 17752"/>
                  <a:gd name="T32" fmla="*/ 7839 w 8158"/>
                  <a:gd name="T33" fmla="*/ 17434 h 17752"/>
                  <a:gd name="T34" fmla="*/ 7721 w 8158"/>
                  <a:gd name="T35" fmla="*/ 17535 h 17752"/>
                  <a:gd name="T36" fmla="*/ 7589 w 8158"/>
                  <a:gd name="T37" fmla="*/ 17621 h 17752"/>
                  <a:gd name="T38" fmla="*/ 7445 w 8158"/>
                  <a:gd name="T39" fmla="*/ 17686 h 17752"/>
                  <a:gd name="T40" fmla="*/ 7291 w 8158"/>
                  <a:gd name="T41" fmla="*/ 17730 h 17752"/>
                  <a:gd name="T42" fmla="*/ 7129 w 8158"/>
                  <a:gd name="T43" fmla="*/ 17751 h 17752"/>
                  <a:gd name="T44" fmla="*/ 1030 w 8158"/>
                  <a:gd name="T45" fmla="*/ 17751 h 17752"/>
                  <a:gd name="T46" fmla="*/ 867 w 8158"/>
                  <a:gd name="T47" fmla="*/ 17730 h 17752"/>
                  <a:gd name="T48" fmla="*/ 713 w 8158"/>
                  <a:gd name="T49" fmla="*/ 17686 h 17752"/>
                  <a:gd name="T50" fmla="*/ 569 w 8158"/>
                  <a:gd name="T51" fmla="*/ 17621 h 17752"/>
                  <a:gd name="T52" fmla="*/ 437 w 8158"/>
                  <a:gd name="T53" fmla="*/ 17535 h 17752"/>
                  <a:gd name="T54" fmla="*/ 319 w 8158"/>
                  <a:gd name="T55" fmla="*/ 17434 h 17752"/>
                  <a:gd name="T56" fmla="*/ 217 w 8158"/>
                  <a:gd name="T57" fmla="*/ 17315 h 17752"/>
                  <a:gd name="T58" fmla="*/ 131 w 8158"/>
                  <a:gd name="T59" fmla="*/ 17183 h 17752"/>
                  <a:gd name="T60" fmla="*/ 66 w 8158"/>
                  <a:gd name="T61" fmla="*/ 17039 h 17752"/>
                  <a:gd name="T62" fmla="*/ 22 w 8158"/>
                  <a:gd name="T63" fmla="*/ 16886 h 17752"/>
                  <a:gd name="T64" fmla="*/ 1 w 8158"/>
                  <a:gd name="T65" fmla="*/ 16724 h 17752"/>
                  <a:gd name="T66" fmla="*/ 1 w 8158"/>
                  <a:gd name="T67" fmla="*/ 1028 h 17752"/>
                  <a:gd name="T68" fmla="*/ 22 w 8158"/>
                  <a:gd name="T69" fmla="*/ 866 h 17752"/>
                  <a:gd name="T70" fmla="*/ 66 w 8158"/>
                  <a:gd name="T71" fmla="*/ 712 h 17752"/>
                  <a:gd name="T72" fmla="*/ 131 w 8158"/>
                  <a:gd name="T73" fmla="*/ 568 h 17752"/>
                  <a:gd name="T74" fmla="*/ 217 w 8158"/>
                  <a:gd name="T75" fmla="*/ 436 h 17752"/>
                  <a:gd name="T76" fmla="*/ 319 w 8158"/>
                  <a:gd name="T77" fmla="*/ 318 h 17752"/>
                  <a:gd name="T78" fmla="*/ 437 w 8158"/>
                  <a:gd name="T79" fmla="*/ 215 h 17752"/>
                  <a:gd name="T80" fmla="*/ 569 w 8158"/>
                  <a:gd name="T81" fmla="*/ 131 h 17752"/>
                  <a:gd name="T82" fmla="*/ 713 w 8158"/>
                  <a:gd name="T83" fmla="*/ 66 h 17752"/>
                  <a:gd name="T84" fmla="*/ 867 w 8158"/>
                  <a:gd name="T85" fmla="*/ 22 h 17752"/>
                  <a:gd name="T86" fmla="*/ 1030 w 8158"/>
                  <a:gd name="T87" fmla="*/ 1 h 177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158" h="17752">
                    <a:moveTo>
                      <a:pt x="1085" y="0"/>
                    </a:moveTo>
                    <a:lnTo>
                      <a:pt x="7073" y="0"/>
                    </a:lnTo>
                    <a:lnTo>
                      <a:pt x="7129" y="1"/>
                    </a:lnTo>
                    <a:lnTo>
                      <a:pt x="7184" y="4"/>
                    </a:lnTo>
                    <a:lnTo>
                      <a:pt x="7237" y="12"/>
                    </a:lnTo>
                    <a:lnTo>
                      <a:pt x="7291" y="22"/>
                    </a:lnTo>
                    <a:lnTo>
                      <a:pt x="7343" y="34"/>
                    </a:lnTo>
                    <a:lnTo>
                      <a:pt x="7395" y="49"/>
                    </a:lnTo>
                    <a:lnTo>
                      <a:pt x="7445" y="66"/>
                    </a:lnTo>
                    <a:lnTo>
                      <a:pt x="7494" y="85"/>
                    </a:lnTo>
                    <a:lnTo>
                      <a:pt x="7542" y="107"/>
                    </a:lnTo>
                    <a:lnTo>
                      <a:pt x="7589" y="131"/>
                    </a:lnTo>
                    <a:lnTo>
                      <a:pt x="7634" y="157"/>
                    </a:lnTo>
                    <a:lnTo>
                      <a:pt x="7679" y="186"/>
                    </a:lnTo>
                    <a:lnTo>
                      <a:pt x="7721" y="215"/>
                    </a:lnTo>
                    <a:lnTo>
                      <a:pt x="7762" y="247"/>
                    </a:lnTo>
                    <a:lnTo>
                      <a:pt x="7802" y="281"/>
                    </a:lnTo>
                    <a:lnTo>
                      <a:pt x="7839" y="318"/>
                    </a:lnTo>
                    <a:lnTo>
                      <a:pt x="7875" y="356"/>
                    </a:lnTo>
                    <a:lnTo>
                      <a:pt x="7909" y="395"/>
                    </a:lnTo>
                    <a:lnTo>
                      <a:pt x="7942" y="436"/>
                    </a:lnTo>
                    <a:lnTo>
                      <a:pt x="7972" y="479"/>
                    </a:lnTo>
                    <a:lnTo>
                      <a:pt x="8000" y="523"/>
                    </a:lnTo>
                    <a:lnTo>
                      <a:pt x="8026" y="568"/>
                    </a:lnTo>
                    <a:lnTo>
                      <a:pt x="8050" y="614"/>
                    </a:lnTo>
                    <a:lnTo>
                      <a:pt x="8072" y="662"/>
                    </a:lnTo>
                    <a:lnTo>
                      <a:pt x="8092" y="712"/>
                    </a:lnTo>
                    <a:lnTo>
                      <a:pt x="8109" y="763"/>
                    </a:lnTo>
                    <a:lnTo>
                      <a:pt x="8123" y="814"/>
                    </a:lnTo>
                    <a:lnTo>
                      <a:pt x="8136" y="866"/>
                    </a:lnTo>
                    <a:lnTo>
                      <a:pt x="8145" y="919"/>
                    </a:lnTo>
                    <a:lnTo>
                      <a:pt x="8152" y="973"/>
                    </a:lnTo>
                    <a:lnTo>
                      <a:pt x="8157" y="1028"/>
                    </a:lnTo>
                    <a:lnTo>
                      <a:pt x="8158" y="1084"/>
                    </a:lnTo>
                    <a:lnTo>
                      <a:pt x="8158" y="16668"/>
                    </a:lnTo>
                    <a:lnTo>
                      <a:pt x="8157" y="16724"/>
                    </a:lnTo>
                    <a:lnTo>
                      <a:pt x="8152" y="16778"/>
                    </a:lnTo>
                    <a:lnTo>
                      <a:pt x="8145" y="16832"/>
                    </a:lnTo>
                    <a:lnTo>
                      <a:pt x="8136" y="16886"/>
                    </a:lnTo>
                    <a:lnTo>
                      <a:pt x="8123" y="16938"/>
                    </a:lnTo>
                    <a:lnTo>
                      <a:pt x="8109" y="16989"/>
                    </a:lnTo>
                    <a:lnTo>
                      <a:pt x="8092" y="17039"/>
                    </a:lnTo>
                    <a:lnTo>
                      <a:pt x="8072" y="17088"/>
                    </a:lnTo>
                    <a:lnTo>
                      <a:pt x="8050" y="17136"/>
                    </a:lnTo>
                    <a:lnTo>
                      <a:pt x="8026" y="17183"/>
                    </a:lnTo>
                    <a:lnTo>
                      <a:pt x="8000" y="17229"/>
                    </a:lnTo>
                    <a:lnTo>
                      <a:pt x="7972" y="17273"/>
                    </a:lnTo>
                    <a:lnTo>
                      <a:pt x="7942" y="17315"/>
                    </a:lnTo>
                    <a:lnTo>
                      <a:pt x="7909" y="17356"/>
                    </a:lnTo>
                    <a:lnTo>
                      <a:pt x="7875" y="17396"/>
                    </a:lnTo>
                    <a:lnTo>
                      <a:pt x="7839" y="17434"/>
                    </a:lnTo>
                    <a:lnTo>
                      <a:pt x="7802" y="17469"/>
                    </a:lnTo>
                    <a:lnTo>
                      <a:pt x="7762" y="17503"/>
                    </a:lnTo>
                    <a:lnTo>
                      <a:pt x="7721" y="17535"/>
                    </a:lnTo>
                    <a:lnTo>
                      <a:pt x="7679" y="17566"/>
                    </a:lnTo>
                    <a:lnTo>
                      <a:pt x="7634" y="17595"/>
                    </a:lnTo>
                    <a:lnTo>
                      <a:pt x="7589" y="17621"/>
                    </a:lnTo>
                    <a:lnTo>
                      <a:pt x="7542" y="17645"/>
                    </a:lnTo>
                    <a:lnTo>
                      <a:pt x="7494" y="17666"/>
                    </a:lnTo>
                    <a:lnTo>
                      <a:pt x="7445" y="17686"/>
                    </a:lnTo>
                    <a:lnTo>
                      <a:pt x="7395" y="17703"/>
                    </a:lnTo>
                    <a:lnTo>
                      <a:pt x="7343" y="17718"/>
                    </a:lnTo>
                    <a:lnTo>
                      <a:pt x="7291" y="17730"/>
                    </a:lnTo>
                    <a:lnTo>
                      <a:pt x="7237" y="17739"/>
                    </a:lnTo>
                    <a:lnTo>
                      <a:pt x="7184" y="17746"/>
                    </a:lnTo>
                    <a:lnTo>
                      <a:pt x="7129" y="17751"/>
                    </a:lnTo>
                    <a:lnTo>
                      <a:pt x="7073" y="17752"/>
                    </a:lnTo>
                    <a:lnTo>
                      <a:pt x="1085" y="17752"/>
                    </a:lnTo>
                    <a:lnTo>
                      <a:pt x="1030" y="17751"/>
                    </a:lnTo>
                    <a:lnTo>
                      <a:pt x="974" y="17746"/>
                    </a:lnTo>
                    <a:lnTo>
                      <a:pt x="921" y="17739"/>
                    </a:lnTo>
                    <a:lnTo>
                      <a:pt x="867" y="17730"/>
                    </a:lnTo>
                    <a:lnTo>
                      <a:pt x="815" y="17718"/>
                    </a:lnTo>
                    <a:lnTo>
                      <a:pt x="763" y="17703"/>
                    </a:lnTo>
                    <a:lnTo>
                      <a:pt x="713" y="17686"/>
                    </a:lnTo>
                    <a:lnTo>
                      <a:pt x="664" y="17666"/>
                    </a:lnTo>
                    <a:lnTo>
                      <a:pt x="616" y="17645"/>
                    </a:lnTo>
                    <a:lnTo>
                      <a:pt x="569" y="17621"/>
                    </a:lnTo>
                    <a:lnTo>
                      <a:pt x="524" y="17595"/>
                    </a:lnTo>
                    <a:lnTo>
                      <a:pt x="479" y="17566"/>
                    </a:lnTo>
                    <a:lnTo>
                      <a:pt x="437" y="17535"/>
                    </a:lnTo>
                    <a:lnTo>
                      <a:pt x="396" y="17503"/>
                    </a:lnTo>
                    <a:lnTo>
                      <a:pt x="357" y="17469"/>
                    </a:lnTo>
                    <a:lnTo>
                      <a:pt x="319" y="17434"/>
                    </a:lnTo>
                    <a:lnTo>
                      <a:pt x="283" y="17396"/>
                    </a:lnTo>
                    <a:lnTo>
                      <a:pt x="249" y="17356"/>
                    </a:lnTo>
                    <a:lnTo>
                      <a:pt x="217" y="17315"/>
                    </a:lnTo>
                    <a:lnTo>
                      <a:pt x="186" y="17273"/>
                    </a:lnTo>
                    <a:lnTo>
                      <a:pt x="158" y="17229"/>
                    </a:lnTo>
                    <a:lnTo>
                      <a:pt x="131" y="17183"/>
                    </a:lnTo>
                    <a:lnTo>
                      <a:pt x="107" y="17136"/>
                    </a:lnTo>
                    <a:lnTo>
                      <a:pt x="86" y="17088"/>
                    </a:lnTo>
                    <a:lnTo>
                      <a:pt x="66" y="17039"/>
                    </a:lnTo>
                    <a:lnTo>
                      <a:pt x="49" y="16989"/>
                    </a:lnTo>
                    <a:lnTo>
                      <a:pt x="34" y="16938"/>
                    </a:lnTo>
                    <a:lnTo>
                      <a:pt x="22" y="16886"/>
                    </a:lnTo>
                    <a:lnTo>
                      <a:pt x="13" y="16832"/>
                    </a:lnTo>
                    <a:lnTo>
                      <a:pt x="6" y="16778"/>
                    </a:lnTo>
                    <a:lnTo>
                      <a:pt x="1" y="16724"/>
                    </a:lnTo>
                    <a:lnTo>
                      <a:pt x="0" y="16668"/>
                    </a:lnTo>
                    <a:lnTo>
                      <a:pt x="0" y="1084"/>
                    </a:lnTo>
                    <a:lnTo>
                      <a:pt x="1" y="1028"/>
                    </a:lnTo>
                    <a:lnTo>
                      <a:pt x="6" y="973"/>
                    </a:lnTo>
                    <a:lnTo>
                      <a:pt x="13" y="919"/>
                    </a:lnTo>
                    <a:lnTo>
                      <a:pt x="22" y="866"/>
                    </a:lnTo>
                    <a:lnTo>
                      <a:pt x="34" y="814"/>
                    </a:lnTo>
                    <a:lnTo>
                      <a:pt x="49" y="763"/>
                    </a:lnTo>
                    <a:lnTo>
                      <a:pt x="66" y="712"/>
                    </a:lnTo>
                    <a:lnTo>
                      <a:pt x="86" y="662"/>
                    </a:lnTo>
                    <a:lnTo>
                      <a:pt x="107" y="614"/>
                    </a:lnTo>
                    <a:lnTo>
                      <a:pt x="131" y="568"/>
                    </a:lnTo>
                    <a:lnTo>
                      <a:pt x="158" y="523"/>
                    </a:lnTo>
                    <a:lnTo>
                      <a:pt x="186" y="479"/>
                    </a:lnTo>
                    <a:lnTo>
                      <a:pt x="217" y="436"/>
                    </a:lnTo>
                    <a:lnTo>
                      <a:pt x="249" y="395"/>
                    </a:lnTo>
                    <a:lnTo>
                      <a:pt x="283" y="356"/>
                    </a:lnTo>
                    <a:lnTo>
                      <a:pt x="319" y="318"/>
                    </a:lnTo>
                    <a:lnTo>
                      <a:pt x="357" y="281"/>
                    </a:lnTo>
                    <a:lnTo>
                      <a:pt x="396" y="247"/>
                    </a:lnTo>
                    <a:lnTo>
                      <a:pt x="437" y="215"/>
                    </a:lnTo>
                    <a:lnTo>
                      <a:pt x="479" y="186"/>
                    </a:lnTo>
                    <a:lnTo>
                      <a:pt x="524" y="157"/>
                    </a:lnTo>
                    <a:lnTo>
                      <a:pt x="569" y="131"/>
                    </a:lnTo>
                    <a:lnTo>
                      <a:pt x="616" y="107"/>
                    </a:lnTo>
                    <a:lnTo>
                      <a:pt x="664" y="85"/>
                    </a:lnTo>
                    <a:lnTo>
                      <a:pt x="713" y="66"/>
                    </a:lnTo>
                    <a:lnTo>
                      <a:pt x="763" y="49"/>
                    </a:lnTo>
                    <a:lnTo>
                      <a:pt x="815" y="34"/>
                    </a:lnTo>
                    <a:lnTo>
                      <a:pt x="867" y="22"/>
                    </a:lnTo>
                    <a:lnTo>
                      <a:pt x="921" y="12"/>
                    </a:lnTo>
                    <a:lnTo>
                      <a:pt x="974" y="4"/>
                    </a:lnTo>
                    <a:lnTo>
                      <a:pt x="1030" y="1"/>
                    </a:lnTo>
                    <a:lnTo>
                      <a:pt x="1085" y="0"/>
                    </a:lnTo>
                    <a:close/>
                  </a:path>
                </a:pathLst>
              </a:custGeom>
              <a:solidFill>
                <a:schemeClr val="tx1">
                  <a:lumMod val="95000"/>
                  <a:lumOff val="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8" name="Freeform 18"/>
              <p:cNvSpPr>
                <a:spLocks/>
              </p:cNvSpPr>
              <p:nvPr/>
            </p:nvSpPr>
            <p:spPr bwMode="auto">
              <a:xfrm>
                <a:off x="6198472" y="1949660"/>
                <a:ext cx="1890214" cy="3330161"/>
              </a:xfrm>
              <a:custGeom>
                <a:avLst/>
                <a:gdLst>
                  <a:gd name="T0" fmla="*/ 60 w 7504"/>
                  <a:gd name="T1" fmla="*/ 0 h 13222"/>
                  <a:gd name="T2" fmla="*/ 7444 w 7504"/>
                  <a:gd name="T3" fmla="*/ 0 h 13222"/>
                  <a:gd name="T4" fmla="*/ 7451 w 7504"/>
                  <a:gd name="T5" fmla="*/ 0 h 13222"/>
                  <a:gd name="T6" fmla="*/ 7457 w 7504"/>
                  <a:gd name="T7" fmla="*/ 1 h 13222"/>
                  <a:gd name="T8" fmla="*/ 7462 w 7504"/>
                  <a:gd name="T9" fmla="*/ 2 h 13222"/>
                  <a:gd name="T10" fmla="*/ 7468 w 7504"/>
                  <a:gd name="T11" fmla="*/ 5 h 13222"/>
                  <a:gd name="T12" fmla="*/ 7478 w 7504"/>
                  <a:gd name="T13" fmla="*/ 10 h 13222"/>
                  <a:gd name="T14" fmla="*/ 7486 w 7504"/>
                  <a:gd name="T15" fmla="*/ 17 h 13222"/>
                  <a:gd name="T16" fmla="*/ 7494 w 7504"/>
                  <a:gd name="T17" fmla="*/ 26 h 13222"/>
                  <a:gd name="T18" fmla="*/ 7500 w 7504"/>
                  <a:gd name="T19" fmla="*/ 36 h 13222"/>
                  <a:gd name="T20" fmla="*/ 7501 w 7504"/>
                  <a:gd name="T21" fmla="*/ 42 h 13222"/>
                  <a:gd name="T22" fmla="*/ 7503 w 7504"/>
                  <a:gd name="T23" fmla="*/ 48 h 13222"/>
                  <a:gd name="T24" fmla="*/ 7504 w 7504"/>
                  <a:gd name="T25" fmla="*/ 54 h 13222"/>
                  <a:gd name="T26" fmla="*/ 7504 w 7504"/>
                  <a:gd name="T27" fmla="*/ 59 h 13222"/>
                  <a:gd name="T28" fmla="*/ 7504 w 7504"/>
                  <a:gd name="T29" fmla="*/ 13161 h 13222"/>
                  <a:gd name="T30" fmla="*/ 7504 w 7504"/>
                  <a:gd name="T31" fmla="*/ 13167 h 13222"/>
                  <a:gd name="T32" fmla="*/ 7503 w 7504"/>
                  <a:gd name="T33" fmla="*/ 13174 h 13222"/>
                  <a:gd name="T34" fmla="*/ 7501 w 7504"/>
                  <a:gd name="T35" fmla="*/ 13179 h 13222"/>
                  <a:gd name="T36" fmla="*/ 7500 w 7504"/>
                  <a:gd name="T37" fmla="*/ 13185 h 13222"/>
                  <a:gd name="T38" fmla="*/ 7494 w 7504"/>
                  <a:gd name="T39" fmla="*/ 13195 h 13222"/>
                  <a:gd name="T40" fmla="*/ 7486 w 7504"/>
                  <a:gd name="T41" fmla="*/ 13203 h 13222"/>
                  <a:gd name="T42" fmla="*/ 7478 w 7504"/>
                  <a:gd name="T43" fmla="*/ 13211 h 13222"/>
                  <a:gd name="T44" fmla="*/ 7468 w 7504"/>
                  <a:gd name="T45" fmla="*/ 13217 h 13222"/>
                  <a:gd name="T46" fmla="*/ 7462 w 7504"/>
                  <a:gd name="T47" fmla="*/ 13218 h 13222"/>
                  <a:gd name="T48" fmla="*/ 7457 w 7504"/>
                  <a:gd name="T49" fmla="*/ 13221 h 13222"/>
                  <a:gd name="T50" fmla="*/ 7451 w 7504"/>
                  <a:gd name="T51" fmla="*/ 13222 h 13222"/>
                  <a:gd name="T52" fmla="*/ 7444 w 7504"/>
                  <a:gd name="T53" fmla="*/ 13222 h 13222"/>
                  <a:gd name="T54" fmla="*/ 60 w 7504"/>
                  <a:gd name="T55" fmla="*/ 13222 h 13222"/>
                  <a:gd name="T56" fmla="*/ 54 w 7504"/>
                  <a:gd name="T57" fmla="*/ 13222 h 13222"/>
                  <a:gd name="T58" fmla="*/ 48 w 7504"/>
                  <a:gd name="T59" fmla="*/ 13221 h 13222"/>
                  <a:gd name="T60" fmla="*/ 43 w 7504"/>
                  <a:gd name="T61" fmla="*/ 13218 h 13222"/>
                  <a:gd name="T62" fmla="*/ 37 w 7504"/>
                  <a:gd name="T63" fmla="*/ 13217 h 13222"/>
                  <a:gd name="T64" fmla="*/ 27 w 7504"/>
                  <a:gd name="T65" fmla="*/ 13211 h 13222"/>
                  <a:gd name="T66" fmla="*/ 18 w 7504"/>
                  <a:gd name="T67" fmla="*/ 13203 h 13222"/>
                  <a:gd name="T68" fmla="*/ 11 w 7504"/>
                  <a:gd name="T69" fmla="*/ 13195 h 13222"/>
                  <a:gd name="T70" fmla="*/ 5 w 7504"/>
                  <a:gd name="T71" fmla="*/ 13185 h 13222"/>
                  <a:gd name="T72" fmla="*/ 3 w 7504"/>
                  <a:gd name="T73" fmla="*/ 13179 h 13222"/>
                  <a:gd name="T74" fmla="*/ 2 w 7504"/>
                  <a:gd name="T75" fmla="*/ 13174 h 13222"/>
                  <a:gd name="T76" fmla="*/ 0 w 7504"/>
                  <a:gd name="T77" fmla="*/ 13167 h 13222"/>
                  <a:gd name="T78" fmla="*/ 0 w 7504"/>
                  <a:gd name="T79" fmla="*/ 13161 h 13222"/>
                  <a:gd name="T80" fmla="*/ 0 w 7504"/>
                  <a:gd name="T81" fmla="*/ 59 h 13222"/>
                  <a:gd name="T82" fmla="*/ 0 w 7504"/>
                  <a:gd name="T83" fmla="*/ 54 h 13222"/>
                  <a:gd name="T84" fmla="*/ 2 w 7504"/>
                  <a:gd name="T85" fmla="*/ 48 h 13222"/>
                  <a:gd name="T86" fmla="*/ 3 w 7504"/>
                  <a:gd name="T87" fmla="*/ 42 h 13222"/>
                  <a:gd name="T88" fmla="*/ 5 w 7504"/>
                  <a:gd name="T89" fmla="*/ 36 h 13222"/>
                  <a:gd name="T90" fmla="*/ 11 w 7504"/>
                  <a:gd name="T91" fmla="*/ 26 h 13222"/>
                  <a:gd name="T92" fmla="*/ 18 w 7504"/>
                  <a:gd name="T93" fmla="*/ 17 h 13222"/>
                  <a:gd name="T94" fmla="*/ 27 w 7504"/>
                  <a:gd name="T95" fmla="*/ 10 h 13222"/>
                  <a:gd name="T96" fmla="*/ 37 w 7504"/>
                  <a:gd name="T97" fmla="*/ 5 h 13222"/>
                  <a:gd name="T98" fmla="*/ 43 w 7504"/>
                  <a:gd name="T99" fmla="*/ 2 h 13222"/>
                  <a:gd name="T100" fmla="*/ 48 w 7504"/>
                  <a:gd name="T101" fmla="*/ 1 h 13222"/>
                  <a:gd name="T102" fmla="*/ 54 w 7504"/>
                  <a:gd name="T103" fmla="*/ 0 h 13222"/>
                  <a:gd name="T104" fmla="*/ 60 w 7504"/>
                  <a:gd name="T105" fmla="*/ 0 h 13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7504" h="13222">
                    <a:moveTo>
                      <a:pt x="60" y="0"/>
                    </a:moveTo>
                    <a:lnTo>
                      <a:pt x="7444" y="0"/>
                    </a:lnTo>
                    <a:lnTo>
                      <a:pt x="7451" y="0"/>
                    </a:lnTo>
                    <a:lnTo>
                      <a:pt x="7457" y="1"/>
                    </a:lnTo>
                    <a:lnTo>
                      <a:pt x="7462" y="2"/>
                    </a:lnTo>
                    <a:lnTo>
                      <a:pt x="7468" y="5"/>
                    </a:lnTo>
                    <a:lnTo>
                      <a:pt x="7478" y="10"/>
                    </a:lnTo>
                    <a:lnTo>
                      <a:pt x="7486" y="17"/>
                    </a:lnTo>
                    <a:lnTo>
                      <a:pt x="7494" y="26"/>
                    </a:lnTo>
                    <a:lnTo>
                      <a:pt x="7500" y="36"/>
                    </a:lnTo>
                    <a:lnTo>
                      <a:pt x="7501" y="42"/>
                    </a:lnTo>
                    <a:lnTo>
                      <a:pt x="7503" y="48"/>
                    </a:lnTo>
                    <a:lnTo>
                      <a:pt x="7504" y="54"/>
                    </a:lnTo>
                    <a:lnTo>
                      <a:pt x="7504" y="59"/>
                    </a:lnTo>
                    <a:lnTo>
                      <a:pt x="7504" y="13161"/>
                    </a:lnTo>
                    <a:lnTo>
                      <a:pt x="7504" y="13167"/>
                    </a:lnTo>
                    <a:lnTo>
                      <a:pt x="7503" y="13174"/>
                    </a:lnTo>
                    <a:lnTo>
                      <a:pt x="7501" y="13179"/>
                    </a:lnTo>
                    <a:lnTo>
                      <a:pt x="7500" y="13185"/>
                    </a:lnTo>
                    <a:lnTo>
                      <a:pt x="7494" y="13195"/>
                    </a:lnTo>
                    <a:lnTo>
                      <a:pt x="7486" y="13203"/>
                    </a:lnTo>
                    <a:lnTo>
                      <a:pt x="7478" y="13211"/>
                    </a:lnTo>
                    <a:lnTo>
                      <a:pt x="7468" y="13217"/>
                    </a:lnTo>
                    <a:lnTo>
                      <a:pt x="7462" y="13218"/>
                    </a:lnTo>
                    <a:lnTo>
                      <a:pt x="7457" y="13221"/>
                    </a:lnTo>
                    <a:lnTo>
                      <a:pt x="7451" y="13222"/>
                    </a:lnTo>
                    <a:lnTo>
                      <a:pt x="7444" y="13222"/>
                    </a:lnTo>
                    <a:lnTo>
                      <a:pt x="60" y="13222"/>
                    </a:lnTo>
                    <a:lnTo>
                      <a:pt x="54" y="13222"/>
                    </a:lnTo>
                    <a:lnTo>
                      <a:pt x="48" y="13221"/>
                    </a:lnTo>
                    <a:lnTo>
                      <a:pt x="43" y="13218"/>
                    </a:lnTo>
                    <a:lnTo>
                      <a:pt x="37" y="13217"/>
                    </a:lnTo>
                    <a:lnTo>
                      <a:pt x="27" y="13211"/>
                    </a:lnTo>
                    <a:lnTo>
                      <a:pt x="18" y="13203"/>
                    </a:lnTo>
                    <a:lnTo>
                      <a:pt x="11" y="13195"/>
                    </a:lnTo>
                    <a:lnTo>
                      <a:pt x="5" y="13185"/>
                    </a:lnTo>
                    <a:lnTo>
                      <a:pt x="3" y="13179"/>
                    </a:lnTo>
                    <a:lnTo>
                      <a:pt x="2" y="13174"/>
                    </a:lnTo>
                    <a:lnTo>
                      <a:pt x="0" y="13167"/>
                    </a:lnTo>
                    <a:lnTo>
                      <a:pt x="0" y="13161"/>
                    </a:lnTo>
                    <a:lnTo>
                      <a:pt x="0" y="59"/>
                    </a:lnTo>
                    <a:lnTo>
                      <a:pt x="0" y="54"/>
                    </a:lnTo>
                    <a:lnTo>
                      <a:pt x="2" y="48"/>
                    </a:lnTo>
                    <a:lnTo>
                      <a:pt x="3" y="42"/>
                    </a:lnTo>
                    <a:lnTo>
                      <a:pt x="5" y="36"/>
                    </a:lnTo>
                    <a:lnTo>
                      <a:pt x="11" y="26"/>
                    </a:lnTo>
                    <a:lnTo>
                      <a:pt x="18" y="17"/>
                    </a:lnTo>
                    <a:lnTo>
                      <a:pt x="27" y="10"/>
                    </a:lnTo>
                    <a:lnTo>
                      <a:pt x="37" y="5"/>
                    </a:lnTo>
                    <a:lnTo>
                      <a:pt x="43" y="2"/>
                    </a:lnTo>
                    <a:lnTo>
                      <a:pt x="48" y="1"/>
                    </a:lnTo>
                    <a:lnTo>
                      <a:pt x="54" y="0"/>
                    </a:lnTo>
                    <a:lnTo>
                      <a:pt x="60" y="0"/>
                    </a:ln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9" name="Rectangle 19"/>
              <p:cNvSpPr>
                <a:spLocks noChangeArrowheads="1"/>
              </p:cNvSpPr>
              <p:nvPr/>
            </p:nvSpPr>
            <p:spPr bwMode="auto">
              <a:xfrm>
                <a:off x="6224158" y="1976857"/>
                <a:ext cx="1837330" cy="3275766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grpSp>
            <p:nvGrpSpPr>
              <p:cNvPr id="30" name="Group 29"/>
              <p:cNvGrpSpPr/>
              <p:nvPr/>
            </p:nvGrpSpPr>
            <p:grpSpPr>
              <a:xfrm>
                <a:off x="6224158" y="1976855"/>
                <a:ext cx="1837330" cy="120877"/>
                <a:chOff x="2252642" y="846142"/>
                <a:chExt cx="1930382" cy="127001"/>
              </a:xfrm>
            </p:grpSpPr>
            <p:sp>
              <p:nvSpPr>
                <p:cNvPr id="36" name="Rectangle 20"/>
                <p:cNvSpPr>
                  <a:spLocks noChangeArrowheads="1"/>
                </p:cNvSpPr>
                <p:nvPr/>
              </p:nvSpPr>
              <p:spPr bwMode="auto">
                <a:xfrm>
                  <a:off x="2252642" y="846142"/>
                  <a:ext cx="1930382" cy="127001"/>
                </a:xfrm>
                <a:prstGeom prst="rect">
                  <a:avLst/>
                </a:prstGeom>
                <a:gradFill>
                  <a:gsLst>
                    <a:gs pos="100000">
                      <a:schemeClr val="tx1">
                        <a:lumMod val="65000"/>
                        <a:lumOff val="35000"/>
                      </a:schemeClr>
                    </a:gs>
                    <a:gs pos="0">
                      <a:schemeClr val="bg1">
                        <a:lumMod val="50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7" name="Rectangle 21"/>
                <p:cNvSpPr>
                  <a:spLocks noChangeArrowheads="1"/>
                </p:cNvSpPr>
                <p:nvPr/>
              </p:nvSpPr>
              <p:spPr bwMode="auto">
                <a:xfrm>
                  <a:off x="2278042" y="912817"/>
                  <a:ext cx="19050" cy="25400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8" name="Rectangle 22"/>
                <p:cNvSpPr>
                  <a:spLocks noChangeArrowheads="1"/>
                </p:cNvSpPr>
                <p:nvPr/>
              </p:nvSpPr>
              <p:spPr bwMode="auto">
                <a:xfrm>
                  <a:off x="2301854" y="908054"/>
                  <a:ext cx="19050" cy="30164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9" name="Rectangle 23"/>
                <p:cNvSpPr>
                  <a:spLocks noChangeArrowheads="1"/>
                </p:cNvSpPr>
                <p:nvPr/>
              </p:nvSpPr>
              <p:spPr bwMode="auto">
                <a:xfrm>
                  <a:off x="2327254" y="898529"/>
                  <a:ext cx="17463" cy="39688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0" name="Rectangle 24"/>
                <p:cNvSpPr>
                  <a:spLocks noChangeArrowheads="1"/>
                </p:cNvSpPr>
                <p:nvPr/>
              </p:nvSpPr>
              <p:spPr bwMode="auto">
                <a:xfrm>
                  <a:off x="2351066" y="890592"/>
                  <a:ext cx="17463" cy="47625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1" name="Rectangle 25"/>
                <p:cNvSpPr>
                  <a:spLocks noChangeArrowheads="1"/>
                </p:cNvSpPr>
                <p:nvPr/>
              </p:nvSpPr>
              <p:spPr bwMode="auto">
                <a:xfrm>
                  <a:off x="2374878" y="877891"/>
                  <a:ext cx="17463" cy="60325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2" name="Freeform 36"/>
                <p:cNvSpPr>
                  <a:spLocks/>
                </p:cNvSpPr>
                <p:nvPr/>
              </p:nvSpPr>
              <p:spPr bwMode="auto">
                <a:xfrm>
                  <a:off x="2432028" y="873129"/>
                  <a:ext cx="96837" cy="34925"/>
                </a:xfrm>
                <a:custGeom>
                  <a:avLst/>
                  <a:gdLst>
                    <a:gd name="T0" fmla="*/ 195 w 362"/>
                    <a:gd name="T1" fmla="*/ 0 h 133"/>
                    <a:gd name="T2" fmla="*/ 222 w 362"/>
                    <a:gd name="T3" fmla="*/ 3 h 133"/>
                    <a:gd name="T4" fmla="*/ 248 w 362"/>
                    <a:gd name="T5" fmla="*/ 10 h 133"/>
                    <a:gd name="T6" fmla="*/ 274 w 362"/>
                    <a:gd name="T7" fmla="*/ 19 h 133"/>
                    <a:gd name="T8" fmla="*/ 296 w 362"/>
                    <a:gd name="T9" fmla="*/ 31 h 133"/>
                    <a:gd name="T10" fmla="*/ 318 w 362"/>
                    <a:gd name="T11" fmla="*/ 46 h 133"/>
                    <a:gd name="T12" fmla="*/ 337 w 362"/>
                    <a:gd name="T13" fmla="*/ 63 h 133"/>
                    <a:gd name="T14" fmla="*/ 356 w 362"/>
                    <a:gd name="T15" fmla="*/ 83 h 133"/>
                    <a:gd name="T16" fmla="*/ 321 w 362"/>
                    <a:gd name="T17" fmla="*/ 133 h 133"/>
                    <a:gd name="T18" fmla="*/ 309 w 362"/>
                    <a:gd name="T19" fmla="*/ 116 h 133"/>
                    <a:gd name="T20" fmla="*/ 295 w 362"/>
                    <a:gd name="T21" fmla="*/ 101 h 133"/>
                    <a:gd name="T22" fmla="*/ 279 w 362"/>
                    <a:gd name="T23" fmla="*/ 87 h 133"/>
                    <a:gd name="T24" fmla="*/ 262 w 362"/>
                    <a:gd name="T25" fmla="*/ 77 h 133"/>
                    <a:gd name="T26" fmla="*/ 244 w 362"/>
                    <a:gd name="T27" fmla="*/ 68 h 133"/>
                    <a:gd name="T28" fmla="*/ 223 w 362"/>
                    <a:gd name="T29" fmla="*/ 61 h 133"/>
                    <a:gd name="T30" fmla="*/ 203 w 362"/>
                    <a:gd name="T31" fmla="*/ 57 h 133"/>
                    <a:gd name="T32" fmla="*/ 181 w 362"/>
                    <a:gd name="T33" fmla="*/ 55 h 133"/>
                    <a:gd name="T34" fmla="*/ 159 w 362"/>
                    <a:gd name="T35" fmla="*/ 57 h 133"/>
                    <a:gd name="T36" fmla="*/ 139 w 362"/>
                    <a:gd name="T37" fmla="*/ 61 h 133"/>
                    <a:gd name="T38" fmla="*/ 118 w 362"/>
                    <a:gd name="T39" fmla="*/ 68 h 133"/>
                    <a:gd name="T40" fmla="*/ 100 w 362"/>
                    <a:gd name="T41" fmla="*/ 77 h 133"/>
                    <a:gd name="T42" fmla="*/ 83 w 362"/>
                    <a:gd name="T43" fmla="*/ 87 h 133"/>
                    <a:gd name="T44" fmla="*/ 67 w 362"/>
                    <a:gd name="T45" fmla="*/ 101 h 133"/>
                    <a:gd name="T46" fmla="*/ 53 w 362"/>
                    <a:gd name="T47" fmla="*/ 116 h 133"/>
                    <a:gd name="T48" fmla="*/ 41 w 362"/>
                    <a:gd name="T49" fmla="*/ 133 h 133"/>
                    <a:gd name="T50" fmla="*/ 7 w 362"/>
                    <a:gd name="T51" fmla="*/ 83 h 133"/>
                    <a:gd name="T52" fmla="*/ 25 w 362"/>
                    <a:gd name="T53" fmla="*/ 63 h 133"/>
                    <a:gd name="T54" fmla="*/ 44 w 362"/>
                    <a:gd name="T55" fmla="*/ 46 h 133"/>
                    <a:gd name="T56" fmla="*/ 66 w 362"/>
                    <a:gd name="T57" fmla="*/ 31 h 133"/>
                    <a:gd name="T58" fmla="*/ 89 w 362"/>
                    <a:gd name="T59" fmla="*/ 19 h 133"/>
                    <a:gd name="T60" fmla="*/ 114 w 362"/>
                    <a:gd name="T61" fmla="*/ 10 h 133"/>
                    <a:gd name="T62" fmla="*/ 140 w 362"/>
                    <a:gd name="T63" fmla="*/ 3 h 133"/>
                    <a:gd name="T64" fmla="*/ 167 w 362"/>
                    <a:gd name="T65" fmla="*/ 0 h 1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362" h="133">
                      <a:moveTo>
                        <a:pt x="181" y="0"/>
                      </a:moveTo>
                      <a:lnTo>
                        <a:pt x="195" y="0"/>
                      </a:lnTo>
                      <a:lnTo>
                        <a:pt x="208" y="1"/>
                      </a:lnTo>
                      <a:lnTo>
                        <a:pt x="222" y="3"/>
                      </a:lnTo>
                      <a:lnTo>
                        <a:pt x="236" y="5"/>
                      </a:lnTo>
                      <a:lnTo>
                        <a:pt x="248" y="10"/>
                      </a:lnTo>
                      <a:lnTo>
                        <a:pt x="261" y="14"/>
                      </a:lnTo>
                      <a:lnTo>
                        <a:pt x="274" y="19"/>
                      </a:lnTo>
                      <a:lnTo>
                        <a:pt x="285" y="25"/>
                      </a:lnTo>
                      <a:lnTo>
                        <a:pt x="296" y="31"/>
                      </a:lnTo>
                      <a:lnTo>
                        <a:pt x="308" y="38"/>
                      </a:lnTo>
                      <a:lnTo>
                        <a:pt x="318" y="46"/>
                      </a:lnTo>
                      <a:lnTo>
                        <a:pt x="328" y="54"/>
                      </a:lnTo>
                      <a:lnTo>
                        <a:pt x="337" y="63"/>
                      </a:lnTo>
                      <a:lnTo>
                        <a:pt x="346" y="73"/>
                      </a:lnTo>
                      <a:lnTo>
                        <a:pt x="356" y="83"/>
                      </a:lnTo>
                      <a:lnTo>
                        <a:pt x="362" y="93"/>
                      </a:lnTo>
                      <a:lnTo>
                        <a:pt x="321" y="133"/>
                      </a:lnTo>
                      <a:lnTo>
                        <a:pt x="316" y="124"/>
                      </a:lnTo>
                      <a:lnTo>
                        <a:pt x="309" y="116"/>
                      </a:lnTo>
                      <a:lnTo>
                        <a:pt x="302" y="108"/>
                      </a:lnTo>
                      <a:lnTo>
                        <a:pt x="295" y="101"/>
                      </a:lnTo>
                      <a:lnTo>
                        <a:pt x="287" y="94"/>
                      </a:lnTo>
                      <a:lnTo>
                        <a:pt x="279" y="87"/>
                      </a:lnTo>
                      <a:lnTo>
                        <a:pt x="271" y="82"/>
                      </a:lnTo>
                      <a:lnTo>
                        <a:pt x="262" y="77"/>
                      </a:lnTo>
                      <a:lnTo>
                        <a:pt x="253" y="71"/>
                      </a:lnTo>
                      <a:lnTo>
                        <a:pt x="244" y="68"/>
                      </a:lnTo>
                      <a:lnTo>
                        <a:pt x="234" y="65"/>
                      </a:lnTo>
                      <a:lnTo>
                        <a:pt x="223" y="61"/>
                      </a:lnTo>
                      <a:lnTo>
                        <a:pt x="213" y="59"/>
                      </a:lnTo>
                      <a:lnTo>
                        <a:pt x="203" y="57"/>
                      </a:lnTo>
                      <a:lnTo>
                        <a:pt x="193" y="55"/>
                      </a:lnTo>
                      <a:lnTo>
                        <a:pt x="181" y="55"/>
                      </a:lnTo>
                      <a:lnTo>
                        <a:pt x="170" y="55"/>
                      </a:lnTo>
                      <a:lnTo>
                        <a:pt x="159" y="57"/>
                      </a:lnTo>
                      <a:lnTo>
                        <a:pt x="149" y="59"/>
                      </a:lnTo>
                      <a:lnTo>
                        <a:pt x="139" y="61"/>
                      </a:lnTo>
                      <a:lnTo>
                        <a:pt x="129" y="65"/>
                      </a:lnTo>
                      <a:lnTo>
                        <a:pt x="118" y="68"/>
                      </a:lnTo>
                      <a:lnTo>
                        <a:pt x="109" y="71"/>
                      </a:lnTo>
                      <a:lnTo>
                        <a:pt x="100" y="77"/>
                      </a:lnTo>
                      <a:lnTo>
                        <a:pt x="91" y="82"/>
                      </a:lnTo>
                      <a:lnTo>
                        <a:pt x="83" y="87"/>
                      </a:lnTo>
                      <a:lnTo>
                        <a:pt x="75" y="94"/>
                      </a:lnTo>
                      <a:lnTo>
                        <a:pt x="67" y="101"/>
                      </a:lnTo>
                      <a:lnTo>
                        <a:pt x="60" y="108"/>
                      </a:lnTo>
                      <a:lnTo>
                        <a:pt x="53" y="116"/>
                      </a:lnTo>
                      <a:lnTo>
                        <a:pt x="47" y="124"/>
                      </a:lnTo>
                      <a:lnTo>
                        <a:pt x="41" y="133"/>
                      </a:lnTo>
                      <a:lnTo>
                        <a:pt x="0" y="93"/>
                      </a:lnTo>
                      <a:lnTo>
                        <a:pt x="7" y="83"/>
                      </a:lnTo>
                      <a:lnTo>
                        <a:pt x="16" y="73"/>
                      </a:lnTo>
                      <a:lnTo>
                        <a:pt x="25" y="63"/>
                      </a:lnTo>
                      <a:lnTo>
                        <a:pt x="34" y="54"/>
                      </a:lnTo>
                      <a:lnTo>
                        <a:pt x="44" y="46"/>
                      </a:lnTo>
                      <a:lnTo>
                        <a:pt x="55" y="38"/>
                      </a:lnTo>
                      <a:lnTo>
                        <a:pt x="66" y="31"/>
                      </a:lnTo>
                      <a:lnTo>
                        <a:pt x="77" y="25"/>
                      </a:lnTo>
                      <a:lnTo>
                        <a:pt x="89" y="19"/>
                      </a:lnTo>
                      <a:lnTo>
                        <a:pt x="101" y="14"/>
                      </a:lnTo>
                      <a:lnTo>
                        <a:pt x="114" y="10"/>
                      </a:lnTo>
                      <a:lnTo>
                        <a:pt x="126" y="5"/>
                      </a:lnTo>
                      <a:lnTo>
                        <a:pt x="140" y="3"/>
                      </a:lnTo>
                      <a:lnTo>
                        <a:pt x="154" y="1"/>
                      </a:lnTo>
                      <a:lnTo>
                        <a:pt x="167" y="0"/>
                      </a:lnTo>
                      <a:lnTo>
                        <a:pt x="181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" name="Freeform 37"/>
                <p:cNvSpPr>
                  <a:spLocks/>
                </p:cNvSpPr>
                <p:nvPr/>
              </p:nvSpPr>
              <p:spPr bwMode="auto">
                <a:xfrm>
                  <a:off x="2449489" y="896942"/>
                  <a:ext cx="61912" cy="28576"/>
                </a:xfrm>
                <a:custGeom>
                  <a:avLst/>
                  <a:gdLst>
                    <a:gd name="T0" fmla="*/ 117 w 235"/>
                    <a:gd name="T1" fmla="*/ 0 h 111"/>
                    <a:gd name="T2" fmla="*/ 126 w 235"/>
                    <a:gd name="T3" fmla="*/ 1 h 111"/>
                    <a:gd name="T4" fmla="*/ 135 w 235"/>
                    <a:gd name="T5" fmla="*/ 2 h 111"/>
                    <a:gd name="T6" fmla="*/ 144 w 235"/>
                    <a:gd name="T7" fmla="*/ 3 h 111"/>
                    <a:gd name="T8" fmla="*/ 154 w 235"/>
                    <a:gd name="T9" fmla="*/ 6 h 111"/>
                    <a:gd name="T10" fmla="*/ 162 w 235"/>
                    <a:gd name="T11" fmla="*/ 8 h 111"/>
                    <a:gd name="T12" fmla="*/ 171 w 235"/>
                    <a:gd name="T13" fmla="*/ 11 h 111"/>
                    <a:gd name="T14" fmla="*/ 179 w 235"/>
                    <a:gd name="T15" fmla="*/ 15 h 111"/>
                    <a:gd name="T16" fmla="*/ 186 w 235"/>
                    <a:gd name="T17" fmla="*/ 19 h 111"/>
                    <a:gd name="T18" fmla="*/ 200 w 235"/>
                    <a:gd name="T19" fmla="*/ 30 h 111"/>
                    <a:gd name="T20" fmla="*/ 214 w 235"/>
                    <a:gd name="T21" fmla="*/ 41 h 111"/>
                    <a:gd name="T22" fmla="*/ 225 w 235"/>
                    <a:gd name="T23" fmla="*/ 54 h 111"/>
                    <a:gd name="T24" fmla="*/ 235 w 235"/>
                    <a:gd name="T25" fmla="*/ 68 h 111"/>
                    <a:gd name="T26" fmla="*/ 190 w 235"/>
                    <a:gd name="T27" fmla="*/ 111 h 111"/>
                    <a:gd name="T28" fmla="*/ 186 w 235"/>
                    <a:gd name="T29" fmla="*/ 99 h 111"/>
                    <a:gd name="T30" fmla="*/ 179 w 235"/>
                    <a:gd name="T31" fmla="*/ 90 h 111"/>
                    <a:gd name="T32" fmla="*/ 172 w 235"/>
                    <a:gd name="T33" fmla="*/ 81 h 111"/>
                    <a:gd name="T34" fmla="*/ 163 w 235"/>
                    <a:gd name="T35" fmla="*/ 73 h 111"/>
                    <a:gd name="T36" fmla="*/ 152 w 235"/>
                    <a:gd name="T37" fmla="*/ 67 h 111"/>
                    <a:gd name="T38" fmla="*/ 141 w 235"/>
                    <a:gd name="T39" fmla="*/ 63 h 111"/>
                    <a:gd name="T40" fmla="*/ 130 w 235"/>
                    <a:gd name="T41" fmla="*/ 59 h 111"/>
                    <a:gd name="T42" fmla="*/ 117 w 235"/>
                    <a:gd name="T43" fmla="*/ 59 h 111"/>
                    <a:gd name="T44" fmla="*/ 105 w 235"/>
                    <a:gd name="T45" fmla="*/ 59 h 111"/>
                    <a:gd name="T46" fmla="*/ 93 w 235"/>
                    <a:gd name="T47" fmla="*/ 63 h 111"/>
                    <a:gd name="T48" fmla="*/ 82 w 235"/>
                    <a:gd name="T49" fmla="*/ 67 h 111"/>
                    <a:gd name="T50" fmla="*/ 71 w 235"/>
                    <a:gd name="T51" fmla="*/ 73 h 111"/>
                    <a:gd name="T52" fmla="*/ 64 w 235"/>
                    <a:gd name="T53" fmla="*/ 81 h 111"/>
                    <a:gd name="T54" fmla="*/ 56 w 235"/>
                    <a:gd name="T55" fmla="*/ 90 h 111"/>
                    <a:gd name="T56" fmla="*/ 49 w 235"/>
                    <a:gd name="T57" fmla="*/ 99 h 111"/>
                    <a:gd name="T58" fmla="*/ 44 w 235"/>
                    <a:gd name="T59" fmla="*/ 111 h 111"/>
                    <a:gd name="T60" fmla="*/ 0 w 235"/>
                    <a:gd name="T61" fmla="*/ 68 h 111"/>
                    <a:gd name="T62" fmla="*/ 9 w 235"/>
                    <a:gd name="T63" fmla="*/ 54 h 111"/>
                    <a:gd name="T64" fmla="*/ 20 w 235"/>
                    <a:gd name="T65" fmla="*/ 41 h 111"/>
                    <a:gd name="T66" fmla="*/ 34 w 235"/>
                    <a:gd name="T67" fmla="*/ 30 h 111"/>
                    <a:gd name="T68" fmla="*/ 49 w 235"/>
                    <a:gd name="T69" fmla="*/ 19 h 111"/>
                    <a:gd name="T70" fmla="*/ 56 w 235"/>
                    <a:gd name="T71" fmla="*/ 15 h 111"/>
                    <a:gd name="T72" fmla="*/ 64 w 235"/>
                    <a:gd name="T73" fmla="*/ 11 h 111"/>
                    <a:gd name="T74" fmla="*/ 73 w 235"/>
                    <a:gd name="T75" fmla="*/ 8 h 111"/>
                    <a:gd name="T76" fmla="*/ 81 w 235"/>
                    <a:gd name="T77" fmla="*/ 6 h 111"/>
                    <a:gd name="T78" fmla="*/ 90 w 235"/>
                    <a:gd name="T79" fmla="*/ 3 h 111"/>
                    <a:gd name="T80" fmla="*/ 99 w 235"/>
                    <a:gd name="T81" fmla="*/ 2 h 111"/>
                    <a:gd name="T82" fmla="*/ 108 w 235"/>
                    <a:gd name="T83" fmla="*/ 1 h 111"/>
                    <a:gd name="T84" fmla="*/ 117 w 235"/>
                    <a:gd name="T85" fmla="*/ 0 h 1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235" h="111">
                      <a:moveTo>
                        <a:pt x="117" y="0"/>
                      </a:moveTo>
                      <a:lnTo>
                        <a:pt x="126" y="1"/>
                      </a:lnTo>
                      <a:lnTo>
                        <a:pt x="135" y="2"/>
                      </a:lnTo>
                      <a:lnTo>
                        <a:pt x="144" y="3"/>
                      </a:lnTo>
                      <a:lnTo>
                        <a:pt x="154" y="6"/>
                      </a:lnTo>
                      <a:lnTo>
                        <a:pt x="162" y="8"/>
                      </a:lnTo>
                      <a:lnTo>
                        <a:pt x="171" y="11"/>
                      </a:lnTo>
                      <a:lnTo>
                        <a:pt x="179" y="15"/>
                      </a:lnTo>
                      <a:lnTo>
                        <a:pt x="186" y="19"/>
                      </a:lnTo>
                      <a:lnTo>
                        <a:pt x="200" y="30"/>
                      </a:lnTo>
                      <a:lnTo>
                        <a:pt x="214" y="41"/>
                      </a:lnTo>
                      <a:lnTo>
                        <a:pt x="225" y="54"/>
                      </a:lnTo>
                      <a:lnTo>
                        <a:pt x="235" y="68"/>
                      </a:lnTo>
                      <a:lnTo>
                        <a:pt x="190" y="111"/>
                      </a:lnTo>
                      <a:lnTo>
                        <a:pt x="186" y="99"/>
                      </a:lnTo>
                      <a:lnTo>
                        <a:pt x="179" y="90"/>
                      </a:lnTo>
                      <a:lnTo>
                        <a:pt x="172" y="81"/>
                      </a:lnTo>
                      <a:lnTo>
                        <a:pt x="163" y="73"/>
                      </a:lnTo>
                      <a:lnTo>
                        <a:pt x="152" y="67"/>
                      </a:lnTo>
                      <a:lnTo>
                        <a:pt x="141" y="63"/>
                      </a:lnTo>
                      <a:lnTo>
                        <a:pt x="130" y="59"/>
                      </a:lnTo>
                      <a:lnTo>
                        <a:pt x="117" y="59"/>
                      </a:lnTo>
                      <a:lnTo>
                        <a:pt x="105" y="59"/>
                      </a:lnTo>
                      <a:lnTo>
                        <a:pt x="93" y="63"/>
                      </a:lnTo>
                      <a:lnTo>
                        <a:pt x="82" y="67"/>
                      </a:lnTo>
                      <a:lnTo>
                        <a:pt x="71" y="73"/>
                      </a:lnTo>
                      <a:lnTo>
                        <a:pt x="64" y="81"/>
                      </a:lnTo>
                      <a:lnTo>
                        <a:pt x="56" y="90"/>
                      </a:lnTo>
                      <a:lnTo>
                        <a:pt x="49" y="99"/>
                      </a:lnTo>
                      <a:lnTo>
                        <a:pt x="44" y="111"/>
                      </a:lnTo>
                      <a:lnTo>
                        <a:pt x="0" y="68"/>
                      </a:lnTo>
                      <a:lnTo>
                        <a:pt x="9" y="54"/>
                      </a:lnTo>
                      <a:lnTo>
                        <a:pt x="20" y="41"/>
                      </a:lnTo>
                      <a:lnTo>
                        <a:pt x="34" y="30"/>
                      </a:lnTo>
                      <a:lnTo>
                        <a:pt x="49" y="19"/>
                      </a:lnTo>
                      <a:lnTo>
                        <a:pt x="56" y="15"/>
                      </a:lnTo>
                      <a:lnTo>
                        <a:pt x="64" y="11"/>
                      </a:lnTo>
                      <a:lnTo>
                        <a:pt x="73" y="8"/>
                      </a:lnTo>
                      <a:lnTo>
                        <a:pt x="81" y="6"/>
                      </a:lnTo>
                      <a:lnTo>
                        <a:pt x="90" y="3"/>
                      </a:lnTo>
                      <a:lnTo>
                        <a:pt x="99" y="2"/>
                      </a:lnTo>
                      <a:lnTo>
                        <a:pt x="108" y="1"/>
                      </a:lnTo>
                      <a:lnTo>
                        <a:pt x="117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" name="Freeform 38"/>
                <p:cNvSpPr>
                  <a:spLocks/>
                </p:cNvSpPr>
                <p:nvPr/>
              </p:nvSpPr>
              <p:spPr bwMode="auto">
                <a:xfrm>
                  <a:off x="2468539" y="920755"/>
                  <a:ext cx="23813" cy="22225"/>
                </a:xfrm>
                <a:custGeom>
                  <a:avLst/>
                  <a:gdLst>
                    <a:gd name="T0" fmla="*/ 42 w 84"/>
                    <a:gd name="T1" fmla="*/ 0 h 84"/>
                    <a:gd name="T2" fmla="*/ 51 w 84"/>
                    <a:gd name="T3" fmla="*/ 0 h 84"/>
                    <a:gd name="T4" fmla="*/ 59 w 84"/>
                    <a:gd name="T5" fmla="*/ 2 h 84"/>
                    <a:gd name="T6" fmla="*/ 66 w 84"/>
                    <a:gd name="T7" fmla="*/ 7 h 84"/>
                    <a:gd name="T8" fmla="*/ 72 w 84"/>
                    <a:gd name="T9" fmla="*/ 11 h 84"/>
                    <a:gd name="T10" fmla="*/ 77 w 84"/>
                    <a:gd name="T11" fmla="*/ 18 h 84"/>
                    <a:gd name="T12" fmla="*/ 81 w 84"/>
                    <a:gd name="T13" fmla="*/ 25 h 84"/>
                    <a:gd name="T14" fmla="*/ 83 w 84"/>
                    <a:gd name="T15" fmla="*/ 33 h 84"/>
                    <a:gd name="T16" fmla="*/ 84 w 84"/>
                    <a:gd name="T17" fmla="*/ 42 h 84"/>
                    <a:gd name="T18" fmla="*/ 84 w 84"/>
                    <a:gd name="T19" fmla="*/ 43 h 84"/>
                    <a:gd name="T20" fmla="*/ 84 w 84"/>
                    <a:gd name="T21" fmla="*/ 44 h 84"/>
                    <a:gd name="T22" fmla="*/ 42 w 84"/>
                    <a:gd name="T23" fmla="*/ 84 h 84"/>
                    <a:gd name="T24" fmla="*/ 0 w 84"/>
                    <a:gd name="T25" fmla="*/ 44 h 84"/>
                    <a:gd name="T26" fmla="*/ 0 w 84"/>
                    <a:gd name="T27" fmla="*/ 43 h 84"/>
                    <a:gd name="T28" fmla="*/ 0 w 84"/>
                    <a:gd name="T29" fmla="*/ 42 h 84"/>
                    <a:gd name="T30" fmla="*/ 1 w 84"/>
                    <a:gd name="T31" fmla="*/ 33 h 84"/>
                    <a:gd name="T32" fmla="*/ 3 w 84"/>
                    <a:gd name="T33" fmla="*/ 25 h 84"/>
                    <a:gd name="T34" fmla="*/ 7 w 84"/>
                    <a:gd name="T35" fmla="*/ 18 h 84"/>
                    <a:gd name="T36" fmla="*/ 12 w 84"/>
                    <a:gd name="T37" fmla="*/ 11 h 84"/>
                    <a:gd name="T38" fmla="*/ 18 w 84"/>
                    <a:gd name="T39" fmla="*/ 7 h 84"/>
                    <a:gd name="T40" fmla="*/ 26 w 84"/>
                    <a:gd name="T41" fmla="*/ 2 h 84"/>
                    <a:gd name="T42" fmla="*/ 34 w 84"/>
                    <a:gd name="T43" fmla="*/ 0 h 84"/>
                    <a:gd name="T44" fmla="*/ 42 w 84"/>
                    <a:gd name="T45" fmla="*/ 0 h 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84" h="84">
                      <a:moveTo>
                        <a:pt x="42" y="0"/>
                      </a:moveTo>
                      <a:lnTo>
                        <a:pt x="51" y="0"/>
                      </a:lnTo>
                      <a:lnTo>
                        <a:pt x="59" y="2"/>
                      </a:lnTo>
                      <a:lnTo>
                        <a:pt x="66" y="7"/>
                      </a:lnTo>
                      <a:lnTo>
                        <a:pt x="72" y="11"/>
                      </a:lnTo>
                      <a:lnTo>
                        <a:pt x="77" y="18"/>
                      </a:lnTo>
                      <a:lnTo>
                        <a:pt x="81" y="25"/>
                      </a:lnTo>
                      <a:lnTo>
                        <a:pt x="83" y="33"/>
                      </a:lnTo>
                      <a:lnTo>
                        <a:pt x="84" y="42"/>
                      </a:lnTo>
                      <a:lnTo>
                        <a:pt x="84" y="43"/>
                      </a:lnTo>
                      <a:lnTo>
                        <a:pt x="84" y="44"/>
                      </a:lnTo>
                      <a:lnTo>
                        <a:pt x="42" y="84"/>
                      </a:lnTo>
                      <a:lnTo>
                        <a:pt x="0" y="44"/>
                      </a:lnTo>
                      <a:lnTo>
                        <a:pt x="0" y="43"/>
                      </a:lnTo>
                      <a:lnTo>
                        <a:pt x="0" y="42"/>
                      </a:lnTo>
                      <a:lnTo>
                        <a:pt x="1" y="33"/>
                      </a:lnTo>
                      <a:lnTo>
                        <a:pt x="3" y="25"/>
                      </a:lnTo>
                      <a:lnTo>
                        <a:pt x="7" y="18"/>
                      </a:lnTo>
                      <a:lnTo>
                        <a:pt x="12" y="11"/>
                      </a:lnTo>
                      <a:lnTo>
                        <a:pt x="18" y="7"/>
                      </a:lnTo>
                      <a:lnTo>
                        <a:pt x="26" y="2"/>
                      </a:lnTo>
                      <a:lnTo>
                        <a:pt x="34" y="0"/>
                      </a:lnTo>
                      <a:lnTo>
                        <a:pt x="42" y="0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" name="Freeform 39"/>
                <p:cNvSpPr>
                  <a:spLocks noEditPoints="1"/>
                </p:cNvSpPr>
                <p:nvPr/>
              </p:nvSpPr>
              <p:spPr bwMode="auto">
                <a:xfrm>
                  <a:off x="4035385" y="876304"/>
                  <a:ext cx="130173" cy="61913"/>
                </a:xfrm>
                <a:custGeom>
                  <a:avLst/>
                  <a:gdLst>
                    <a:gd name="T0" fmla="*/ 418 w 492"/>
                    <a:gd name="T1" fmla="*/ 0 h 235"/>
                    <a:gd name="T2" fmla="*/ 430 w 492"/>
                    <a:gd name="T3" fmla="*/ 2 h 235"/>
                    <a:gd name="T4" fmla="*/ 440 w 492"/>
                    <a:gd name="T5" fmla="*/ 9 h 235"/>
                    <a:gd name="T6" fmla="*/ 446 w 492"/>
                    <a:gd name="T7" fmla="*/ 19 h 235"/>
                    <a:gd name="T8" fmla="*/ 448 w 492"/>
                    <a:gd name="T9" fmla="*/ 31 h 235"/>
                    <a:gd name="T10" fmla="*/ 470 w 492"/>
                    <a:gd name="T11" fmla="*/ 58 h 235"/>
                    <a:gd name="T12" fmla="*/ 479 w 492"/>
                    <a:gd name="T13" fmla="*/ 60 h 235"/>
                    <a:gd name="T14" fmla="*/ 487 w 492"/>
                    <a:gd name="T15" fmla="*/ 65 h 235"/>
                    <a:gd name="T16" fmla="*/ 491 w 492"/>
                    <a:gd name="T17" fmla="*/ 73 h 235"/>
                    <a:gd name="T18" fmla="*/ 492 w 492"/>
                    <a:gd name="T19" fmla="*/ 82 h 235"/>
                    <a:gd name="T20" fmla="*/ 492 w 492"/>
                    <a:gd name="T21" fmla="*/ 158 h 235"/>
                    <a:gd name="T22" fmla="*/ 489 w 492"/>
                    <a:gd name="T23" fmla="*/ 166 h 235"/>
                    <a:gd name="T24" fmla="*/ 483 w 492"/>
                    <a:gd name="T25" fmla="*/ 173 h 235"/>
                    <a:gd name="T26" fmla="*/ 474 w 492"/>
                    <a:gd name="T27" fmla="*/ 177 h 235"/>
                    <a:gd name="T28" fmla="*/ 448 w 492"/>
                    <a:gd name="T29" fmla="*/ 177 h 235"/>
                    <a:gd name="T30" fmla="*/ 448 w 492"/>
                    <a:gd name="T31" fmla="*/ 211 h 235"/>
                    <a:gd name="T32" fmla="*/ 443 w 492"/>
                    <a:gd name="T33" fmla="*/ 222 h 235"/>
                    <a:gd name="T34" fmla="*/ 435 w 492"/>
                    <a:gd name="T35" fmla="*/ 230 h 235"/>
                    <a:gd name="T36" fmla="*/ 424 w 492"/>
                    <a:gd name="T37" fmla="*/ 235 h 235"/>
                    <a:gd name="T38" fmla="*/ 29 w 492"/>
                    <a:gd name="T39" fmla="*/ 235 h 235"/>
                    <a:gd name="T40" fmla="*/ 18 w 492"/>
                    <a:gd name="T41" fmla="*/ 233 h 235"/>
                    <a:gd name="T42" fmla="*/ 9 w 492"/>
                    <a:gd name="T43" fmla="*/ 227 h 235"/>
                    <a:gd name="T44" fmla="*/ 2 w 492"/>
                    <a:gd name="T45" fmla="*/ 217 h 235"/>
                    <a:gd name="T46" fmla="*/ 0 w 492"/>
                    <a:gd name="T47" fmla="*/ 205 h 235"/>
                    <a:gd name="T48" fmla="*/ 1 w 492"/>
                    <a:gd name="T49" fmla="*/ 24 h 235"/>
                    <a:gd name="T50" fmla="*/ 5 w 492"/>
                    <a:gd name="T51" fmla="*/ 14 h 235"/>
                    <a:gd name="T52" fmla="*/ 13 w 492"/>
                    <a:gd name="T53" fmla="*/ 6 h 235"/>
                    <a:gd name="T54" fmla="*/ 24 w 492"/>
                    <a:gd name="T55" fmla="*/ 1 h 235"/>
                    <a:gd name="T56" fmla="*/ 448 w 492"/>
                    <a:gd name="T57" fmla="*/ 93 h 235"/>
                    <a:gd name="T58" fmla="*/ 457 w 492"/>
                    <a:gd name="T59" fmla="*/ 141 h 235"/>
                    <a:gd name="T60" fmla="*/ 448 w 492"/>
                    <a:gd name="T61" fmla="*/ 93 h 235"/>
                    <a:gd name="T62" fmla="*/ 35 w 492"/>
                    <a:gd name="T63" fmla="*/ 35 h 235"/>
                    <a:gd name="T64" fmla="*/ 413 w 492"/>
                    <a:gd name="T65" fmla="*/ 199 h 2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92" h="235">
                      <a:moveTo>
                        <a:pt x="29" y="0"/>
                      </a:moveTo>
                      <a:lnTo>
                        <a:pt x="418" y="0"/>
                      </a:lnTo>
                      <a:lnTo>
                        <a:pt x="424" y="1"/>
                      </a:lnTo>
                      <a:lnTo>
                        <a:pt x="430" y="2"/>
                      </a:lnTo>
                      <a:lnTo>
                        <a:pt x="435" y="6"/>
                      </a:lnTo>
                      <a:lnTo>
                        <a:pt x="440" y="9"/>
                      </a:lnTo>
                      <a:lnTo>
                        <a:pt x="443" y="14"/>
                      </a:lnTo>
                      <a:lnTo>
                        <a:pt x="446" y="19"/>
                      </a:lnTo>
                      <a:lnTo>
                        <a:pt x="448" y="24"/>
                      </a:lnTo>
                      <a:lnTo>
                        <a:pt x="448" y="31"/>
                      </a:lnTo>
                      <a:lnTo>
                        <a:pt x="448" y="58"/>
                      </a:lnTo>
                      <a:lnTo>
                        <a:pt x="470" y="58"/>
                      </a:lnTo>
                      <a:lnTo>
                        <a:pt x="474" y="59"/>
                      </a:lnTo>
                      <a:lnTo>
                        <a:pt x="479" y="60"/>
                      </a:lnTo>
                      <a:lnTo>
                        <a:pt x="483" y="63"/>
                      </a:lnTo>
                      <a:lnTo>
                        <a:pt x="487" y="65"/>
                      </a:lnTo>
                      <a:lnTo>
                        <a:pt x="489" y="68"/>
                      </a:lnTo>
                      <a:lnTo>
                        <a:pt x="491" y="73"/>
                      </a:lnTo>
                      <a:lnTo>
                        <a:pt x="492" y="76"/>
                      </a:lnTo>
                      <a:lnTo>
                        <a:pt x="492" y="82"/>
                      </a:lnTo>
                      <a:lnTo>
                        <a:pt x="492" y="154"/>
                      </a:lnTo>
                      <a:lnTo>
                        <a:pt x="492" y="158"/>
                      </a:lnTo>
                      <a:lnTo>
                        <a:pt x="491" y="163"/>
                      </a:lnTo>
                      <a:lnTo>
                        <a:pt x="489" y="166"/>
                      </a:lnTo>
                      <a:lnTo>
                        <a:pt x="487" y="170"/>
                      </a:lnTo>
                      <a:lnTo>
                        <a:pt x="483" y="173"/>
                      </a:lnTo>
                      <a:lnTo>
                        <a:pt x="479" y="176"/>
                      </a:lnTo>
                      <a:lnTo>
                        <a:pt x="474" y="177"/>
                      </a:lnTo>
                      <a:lnTo>
                        <a:pt x="470" y="177"/>
                      </a:lnTo>
                      <a:lnTo>
                        <a:pt x="448" y="177"/>
                      </a:lnTo>
                      <a:lnTo>
                        <a:pt x="448" y="205"/>
                      </a:lnTo>
                      <a:lnTo>
                        <a:pt x="448" y="211"/>
                      </a:lnTo>
                      <a:lnTo>
                        <a:pt x="446" y="217"/>
                      </a:lnTo>
                      <a:lnTo>
                        <a:pt x="443" y="222"/>
                      </a:lnTo>
                      <a:lnTo>
                        <a:pt x="440" y="227"/>
                      </a:lnTo>
                      <a:lnTo>
                        <a:pt x="435" y="230"/>
                      </a:lnTo>
                      <a:lnTo>
                        <a:pt x="430" y="233"/>
                      </a:lnTo>
                      <a:lnTo>
                        <a:pt x="424" y="235"/>
                      </a:lnTo>
                      <a:lnTo>
                        <a:pt x="418" y="235"/>
                      </a:lnTo>
                      <a:lnTo>
                        <a:pt x="29" y="235"/>
                      </a:lnTo>
                      <a:lnTo>
                        <a:pt x="24" y="235"/>
                      </a:lnTo>
                      <a:lnTo>
                        <a:pt x="18" y="233"/>
                      </a:lnTo>
                      <a:lnTo>
                        <a:pt x="13" y="230"/>
                      </a:lnTo>
                      <a:lnTo>
                        <a:pt x="9" y="227"/>
                      </a:lnTo>
                      <a:lnTo>
                        <a:pt x="5" y="222"/>
                      </a:lnTo>
                      <a:lnTo>
                        <a:pt x="2" y="217"/>
                      </a:lnTo>
                      <a:lnTo>
                        <a:pt x="1" y="211"/>
                      </a:lnTo>
                      <a:lnTo>
                        <a:pt x="0" y="205"/>
                      </a:lnTo>
                      <a:lnTo>
                        <a:pt x="0" y="31"/>
                      </a:lnTo>
                      <a:lnTo>
                        <a:pt x="1" y="24"/>
                      </a:lnTo>
                      <a:lnTo>
                        <a:pt x="2" y="19"/>
                      </a:lnTo>
                      <a:lnTo>
                        <a:pt x="5" y="14"/>
                      </a:lnTo>
                      <a:lnTo>
                        <a:pt x="9" y="9"/>
                      </a:lnTo>
                      <a:lnTo>
                        <a:pt x="13" y="6"/>
                      </a:lnTo>
                      <a:lnTo>
                        <a:pt x="18" y="2"/>
                      </a:lnTo>
                      <a:lnTo>
                        <a:pt x="24" y="1"/>
                      </a:lnTo>
                      <a:lnTo>
                        <a:pt x="29" y="0"/>
                      </a:lnTo>
                      <a:close/>
                      <a:moveTo>
                        <a:pt x="448" y="93"/>
                      </a:moveTo>
                      <a:lnTo>
                        <a:pt x="448" y="141"/>
                      </a:lnTo>
                      <a:lnTo>
                        <a:pt x="457" y="141"/>
                      </a:lnTo>
                      <a:lnTo>
                        <a:pt x="457" y="93"/>
                      </a:lnTo>
                      <a:lnTo>
                        <a:pt x="448" y="93"/>
                      </a:lnTo>
                      <a:close/>
                      <a:moveTo>
                        <a:pt x="413" y="35"/>
                      </a:moveTo>
                      <a:lnTo>
                        <a:pt x="35" y="35"/>
                      </a:lnTo>
                      <a:lnTo>
                        <a:pt x="35" y="199"/>
                      </a:lnTo>
                      <a:lnTo>
                        <a:pt x="413" y="199"/>
                      </a:lnTo>
                      <a:lnTo>
                        <a:pt x="413" y="35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6" name="Rectangle 40"/>
                <p:cNvSpPr>
                  <a:spLocks noChangeArrowheads="1"/>
                </p:cNvSpPr>
                <p:nvPr/>
              </p:nvSpPr>
              <p:spPr bwMode="auto">
                <a:xfrm>
                  <a:off x="4051266" y="890592"/>
                  <a:ext cx="87312" cy="34925"/>
                </a:xfrm>
                <a:prstGeom prst="rect">
                  <a:avLst/>
                </a:pr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7" name="Freeform 41"/>
                <p:cNvSpPr>
                  <a:spLocks noEditPoints="1"/>
                </p:cNvSpPr>
                <p:nvPr/>
              </p:nvSpPr>
              <p:spPr bwMode="auto">
                <a:xfrm>
                  <a:off x="3944937" y="862013"/>
                  <a:ext cx="52388" cy="96838"/>
                </a:xfrm>
                <a:custGeom>
                  <a:avLst/>
                  <a:gdLst>
                    <a:gd name="T0" fmla="*/ 25 w 200"/>
                    <a:gd name="T1" fmla="*/ 73 h 367"/>
                    <a:gd name="T2" fmla="*/ 79 w 200"/>
                    <a:gd name="T3" fmla="*/ 127 h 367"/>
                    <a:gd name="T4" fmla="*/ 80 w 200"/>
                    <a:gd name="T5" fmla="*/ 0 h 367"/>
                    <a:gd name="T6" fmla="*/ 184 w 200"/>
                    <a:gd name="T7" fmla="*/ 102 h 367"/>
                    <a:gd name="T8" fmla="*/ 196 w 200"/>
                    <a:gd name="T9" fmla="*/ 114 h 367"/>
                    <a:gd name="T10" fmla="*/ 184 w 200"/>
                    <a:gd name="T11" fmla="*/ 127 h 367"/>
                    <a:gd name="T12" fmla="*/ 131 w 200"/>
                    <a:gd name="T13" fmla="*/ 179 h 367"/>
                    <a:gd name="T14" fmla="*/ 187 w 200"/>
                    <a:gd name="T15" fmla="*/ 235 h 367"/>
                    <a:gd name="T16" fmla="*/ 200 w 200"/>
                    <a:gd name="T17" fmla="*/ 246 h 367"/>
                    <a:gd name="T18" fmla="*/ 187 w 200"/>
                    <a:gd name="T19" fmla="*/ 259 h 367"/>
                    <a:gd name="T20" fmla="*/ 110 w 200"/>
                    <a:gd name="T21" fmla="*/ 338 h 367"/>
                    <a:gd name="T22" fmla="*/ 79 w 200"/>
                    <a:gd name="T23" fmla="*/ 367 h 367"/>
                    <a:gd name="T24" fmla="*/ 79 w 200"/>
                    <a:gd name="T25" fmla="*/ 325 h 367"/>
                    <a:gd name="T26" fmla="*/ 79 w 200"/>
                    <a:gd name="T27" fmla="*/ 232 h 367"/>
                    <a:gd name="T28" fmla="*/ 29 w 200"/>
                    <a:gd name="T29" fmla="*/ 283 h 367"/>
                    <a:gd name="T30" fmla="*/ 4 w 200"/>
                    <a:gd name="T31" fmla="*/ 258 h 367"/>
                    <a:gd name="T32" fmla="*/ 79 w 200"/>
                    <a:gd name="T33" fmla="*/ 182 h 367"/>
                    <a:gd name="T34" fmla="*/ 79 w 200"/>
                    <a:gd name="T35" fmla="*/ 177 h 367"/>
                    <a:gd name="T36" fmla="*/ 0 w 200"/>
                    <a:gd name="T37" fmla="*/ 98 h 367"/>
                    <a:gd name="T38" fmla="*/ 25 w 200"/>
                    <a:gd name="T39" fmla="*/ 73 h 367"/>
                    <a:gd name="T40" fmla="*/ 150 w 200"/>
                    <a:gd name="T41" fmla="*/ 246 h 367"/>
                    <a:gd name="T42" fmla="*/ 114 w 200"/>
                    <a:gd name="T43" fmla="*/ 212 h 367"/>
                    <a:gd name="T44" fmla="*/ 114 w 200"/>
                    <a:gd name="T45" fmla="*/ 282 h 367"/>
                    <a:gd name="T46" fmla="*/ 150 w 200"/>
                    <a:gd name="T47" fmla="*/ 246 h 367"/>
                    <a:gd name="T48" fmla="*/ 114 w 200"/>
                    <a:gd name="T49" fmla="*/ 82 h 367"/>
                    <a:gd name="T50" fmla="*/ 114 w 200"/>
                    <a:gd name="T51" fmla="*/ 146 h 367"/>
                    <a:gd name="T52" fmla="*/ 146 w 200"/>
                    <a:gd name="T53" fmla="*/ 114 h 367"/>
                    <a:gd name="T54" fmla="*/ 114 w 200"/>
                    <a:gd name="T55" fmla="*/ 82 h 36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00" h="367">
                      <a:moveTo>
                        <a:pt x="25" y="73"/>
                      </a:moveTo>
                      <a:lnTo>
                        <a:pt x="79" y="127"/>
                      </a:lnTo>
                      <a:lnTo>
                        <a:pt x="80" y="0"/>
                      </a:lnTo>
                      <a:lnTo>
                        <a:pt x="184" y="102"/>
                      </a:lnTo>
                      <a:lnTo>
                        <a:pt x="196" y="114"/>
                      </a:lnTo>
                      <a:lnTo>
                        <a:pt x="184" y="127"/>
                      </a:lnTo>
                      <a:lnTo>
                        <a:pt x="131" y="179"/>
                      </a:lnTo>
                      <a:lnTo>
                        <a:pt x="187" y="235"/>
                      </a:lnTo>
                      <a:lnTo>
                        <a:pt x="200" y="246"/>
                      </a:lnTo>
                      <a:lnTo>
                        <a:pt x="187" y="259"/>
                      </a:lnTo>
                      <a:lnTo>
                        <a:pt x="110" y="338"/>
                      </a:lnTo>
                      <a:lnTo>
                        <a:pt x="79" y="367"/>
                      </a:lnTo>
                      <a:lnTo>
                        <a:pt x="79" y="325"/>
                      </a:lnTo>
                      <a:lnTo>
                        <a:pt x="79" y="232"/>
                      </a:lnTo>
                      <a:lnTo>
                        <a:pt x="29" y="283"/>
                      </a:lnTo>
                      <a:lnTo>
                        <a:pt x="4" y="258"/>
                      </a:lnTo>
                      <a:lnTo>
                        <a:pt x="79" y="182"/>
                      </a:lnTo>
                      <a:lnTo>
                        <a:pt x="79" y="177"/>
                      </a:lnTo>
                      <a:lnTo>
                        <a:pt x="0" y="98"/>
                      </a:lnTo>
                      <a:lnTo>
                        <a:pt x="25" y="73"/>
                      </a:lnTo>
                      <a:close/>
                      <a:moveTo>
                        <a:pt x="150" y="246"/>
                      </a:moveTo>
                      <a:lnTo>
                        <a:pt x="114" y="212"/>
                      </a:lnTo>
                      <a:lnTo>
                        <a:pt x="114" y="282"/>
                      </a:lnTo>
                      <a:lnTo>
                        <a:pt x="150" y="246"/>
                      </a:lnTo>
                      <a:close/>
                      <a:moveTo>
                        <a:pt x="114" y="82"/>
                      </a:moveTo>
                      <a:lnTo>
                        <a:pt x="114" y="146"/>
                      </a:lnTo>
                      <a:lnTo>
                        <a:pt x="146" y="114"/>
                      </a:lnTo>
                      <a:lnTo>
                        <a:pt x="114" y="82"/>
                      </a:lnTo>
                      <a:close/>
                    </a:path>
                  </a:pathLst>
                </a:custGeom>
                <a:solidFill>
                  <a:schemeClr val="bg1">
                    <a:lumMod val="8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grpSp>
            <p:nvGrpSpPr>
              <p:cNvPr id="31" name="Group 30"/>
              <p:cNvGrpSpPr/>
              <p:nvPr/>
            </p:nvGrpSpPr>
            <p:grpSpPr>
              <a:xfrm>
                <a:off x="6977644" y="5391151"/>
                <a:ext cx="322800" cy="322798"/>
                <a:chOff x="5940539" y="5094371"/>
                <a:chExt cx="371944" cy="371944"/>
              </a:xfrm>
            </p:grpSpPr>
            <p:sp>
              <p:nvSpPr>
                <p:cNvPr id="32" name="Freeform 33"/>
                <p:cNvSpPr>
                  <a:spLocks/>
                </p:cNvSpPr>
                <p:nvPr/>
              </p:nvSpPr>
              <p:spPr bwMode="auto">
                <a:xfrm>
                  <a:off x="5940539" y="5094371"/>
                  <a:ext cx="371944" cy="371944"/>
                </a:xfrm>
                <a:custGeom>
                  <a:avLst/>
                  <a:gdLst>
                    <a:gd name="T0" fmla="*/ 904 w 1639"/>
                    <a:gd name="T1" fmla="*/ 5 h 1638"/>
                    <a:gd name="T2" fmla="*/ 1025 w 1639"/>
                    <a:gd name="T3" fmla="*/ 27 h 1638"/>
                    <a:gd name="T4" fmla="*/ 1139 w 1639"/>
                    <a:gd name="T5" fmla="*/ 64 h 1638"/>
                    <a:gd name="T6" fmla="*/ 1245 w 1639"/>
                    <a:gd name="T7" fmla="*/ 119 h 1638"/>
                    <a:gd name="T8" fmla="*/ 1342 w 1639"/>
                    <a:gd name="T9" fmla="*/ 187 h 1638"/>
                    <a:gd name="T10" fmla="*/ 1427 w 1639"/>
                    <a:gd name="T11" fmla="*/ 268 h 1638"/>
                    <a:gd name="T12" fmla="*/ 1500 w 1639"/>
                    <a:gd name="T13" fmla="*/ 362 h 1638"/>
                    <a:gd name="T14" fmla="*/ 1560 w 1639"/>
                    <a:gd name="T15" fmla="*/ 464 h 1638"/>
                    <a:gd name="T16" fmla="*/ 1603 w 1639"/>
                    <a:gd name="T17" fmla="*/ 576 h 1638"/>
                    <a:gd name="T18" fmla="*/ 1630 w 1639"/>
                    <a:gd name="T19" fmla="*/ 695 h 1638"/>
                    <a:gd name="T20" fmla="*/ 1639 w 1639"/>
                    <a:gd name="T21" fmla="*/ 820 h 1638"/>
                    <a:gd name="T22" fmla="*/ 1630 w 1639"/>
                    <a:gd name="T23" fmla="*/ 944 h 1638"/>
                    <a:gd name="T24" fmla="*/ 1603 w 1639"/>
                    <a:gd name="T25" fmla="*/ 1063 h 1638"/>
                    <a:gd name="T26" fmla="*/ 1560 w 1639"/>
                    <a:gd name="T27" fmla="*/ 1174 h 1638"/>
                    <a:gd name="T28" fmla="*/ 1500 w 1639"/>
                    <a:gd name="T29" fmla="*/ 1278 h 1638"/>
                    <a:gd name="T30" fmla="*/ 1427 w 1639"/>
                    <a:gd name="T31" fmla="*/ 1371 h 1638"/>
                    <a:gd name="T32" fmla="*/ 1342 w 1639"/>
                    <a:gd name="T33" fmla="*/ 1452 h 1638"/>
                    <a:gd name="T34" fmla="*/ 1245 w 1639"/>
                    <a:gd name="T35" fmla="*/ 1520 h 1638"/>
                    <a:gd name="T36" fmla="*/ 1139 w 1639"/>
                    <a:gd name="T37" fmla="*/ 1575 h 1638"/>
                    <a:gd name="T38" fmla="*/ 1025 w 1639"/>
                    <a:gd name="T39" fmla="*/ 1613 h 1638"/>
                    <a:gd name="T40" fmla="*/ 904 w 1639"/>
                    <a:gd name="T41" fmla="*/ 1635 h 1638"/>
                    <a:gd name="T42" fmla="*/ 778 w 1639"/>
                    <a:gd name="T43" fmla="*/ 1637 h 1638"/>
                    <a:gd name="T44" fmla="*/ 655 w 1639"/>
                    <a:gd name="T45" fmla="*/ 1623 h 1638"/>
                    <a:gd name="T46" fmla="*/ 539 w 1639"/>
                    <a:gd name="T47" fmla="*/ 1589 h 1638"/>
                    <a:gd name="T48" fmla="*/ 429 w 1639"/>
                    <a:gd name="T49" fmla="*/ 1540 h 1638"/>
                    <a:gd name="T50" fmla="*/ 330 w 1639"/>
                    <a:gd name="T51" fmla="*/ 1477 h 1638"/>
                    <a:gd name="T52" fmla="*/ 241 w 1639"/>
                    <a:gd name="T53" fmla="*/ 1399 h 1638"/>
                    <a:gd name="T54" fmla="*/ 163 w 1639"/>
                    <a:gd name="T55" fmla="*/ 1310 h 1638"/>
                    <a:gd name="T56" fmla="*/ 100 w 1639"/>
                    <a:gd name="T57" fmla="*/ 1210 h 1638"/>
                    <a:gd name="T58" fmla="*/ 51 w 1639"/>
                    <a:gd name="T59" fmla="*/ 1102 h 1638"/>
                    <a:gd name="T60" fmla="*/ 17 w 1639"/>
                    <a:gd name="T61" fmla="*/ 985 h 1638"/>
                    <a:gd name="T62" fmla="*/ 1 w 1639"/>
                    <a:gd name="T63" fmla="*/ 862 h 1638"/>
                    <a:gd name="T64" fmla="*/ 5 w 1639"/>
                    <a:gd name="T65" fmla="*/ 736 h 1638"/>
                    <a:gd name="T66" fmla="*/ 27 w 1639"/>
                    <a:gd name="T67" fmla="*/ 615 h 1638"/>
                    <a:gd name="T68" fmla="*/ 65 w 1639"/>
                    <a:gd name="T69" fmla="*/ 501 h 1638"/>
                    <a:gd name="T70" fmla="*/ 119 w 1639"/>
                    <a:gd name="T71" fmla="*/ 395 h 1638"/>
                    <a:gd name="T72" fmla="*/ 187 w 1639"/>
                    <a:gd name="T73" fmla="*/ 299 h 1638"/>
                    <a:gd name="T74" fmla="*/ 270 w 1639"/>
                    <a:gd name="T75" fmla="*/ 213 h 1638"/>
                    <a:gd name="T76" fmla="*/ 362 w 1639"/>
                    <a:gd name="T77" fmla="*/ 141 h 1638"/>
                    <a:gd name="T78" fmla="*/ 465 w 1639"/>
                    <a:gd name="T79" fmla="*/ 81 h 1638"/>
                    <a:gd name="T80" fmla="*/ 576 w 1639"/>
                    <a:gd name="T81" fmla="*/ 37 h 1638"/>
                    <a:gd name="T82" fmla="*/ 695 w 1639"/>
                    <a:gd name="T83" fmla="*/ 9 h 1638"/>
                    <a:gd name="T84" fmla="*/ 820 w 1639"/>
                    <a:gd name="T85" fmla="*/ 0 h 16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639" h="1638">
                      <a:moveTo>
                        <a:pt x="820" y="0"/>
                      </a:moveTo>
                      <a:lnTo>
                        <a:pt x="863" y="1"/>
                      </a:lnTo>
                      <a:lnTo>
                        <a:pt x="904" y="5"/>
                      </a:lnTo>
                      <a:lnTo>
                        <a:pt x="945" y="9"/>
                      </a:lnTo>
                      <a:lnTo>
                        <a:pt x="986" y="17"/>
                      </a:lnTo>
                      <a:lnTo>
                        <a:pt x="1025" y="27"/>
                      </a:lnTo>
                      <a:lnTo>
                        <a:pt x="1063" y="37"/>
                      </a:lnTo>
                      <a:lnTo>
                        <a:pt x="1102" y="50"/>
                      </a:lnTo>
                      <a:lnTo>
                        <a:pt x="1139" y="64"/>
                      </a:lnTo>
                      <a:lnTo>
                        <a:pt x="1175" y="81"/>
                      </a:lnTo>
                      <a:lnTo>
                        <a:pt x="1211" y="99"/>
                      </a:lnTo>
                      <a:lnTo>
                        <a:pt x="1245" y="119"/>
                      </a:lnTo>
                      <a:lnTo>
                        <a:pt x="1279" y="141"/>
                      </a:lnTo>
                      <a:lnTo>
                        <a:pt x="1311" y="163"/>
                      </a:lnTo>
                      <a:lnTo>
                        <a:pt x="1342" y="187"/>
                      </a:lnTo>
                      <a:lnTo>
                        <a:pt x="1371" y="213"/>
                      </a:lnTo>
                      <a:lnTo>
                        <a:pt x="1400" y="240"/>
                      </a:lnTo>
                      <a:lnTo>
                        <a:pt x="1427" y="268"/>
                      </a:lnTo>
                      <a:lnTo>
                        <a:pt x="1452" y="299"/>
                      </a:lnTo>
                      <a:lnTo>
                        <a:pt x="1477" y="330"/>
                      </a:lnTo>
                      <a:lnTo>
                        <a:pt x="1500" y="362"/>
                      </a:lnTo>
                      <a:lnTo>
                        <a:pt x="1521" y="395"/>
                      </a:lnTo>
                      <a:lnTo>
                        <a:pt x="1541" y="429"/>
                      </a:lnTo>
                      <a:lnTo>
                        <a:pt x="1560" y="464"/>
                      </a:lnTo>
                      <a:lnTo>
                        <a:pt x="1576" y="501"/>
                      </a:lnTo>
                      <a:lnTo>
                        <a:pt x="1590" y="538"/>
                      </a:lnTo>
                      <a:lnTo>
                        <a:pt x="1603" y="576"/>
                      </a:lnTo>
                      <a:lnTo>
                        <a:pt x="1614" y="615"/>
                      </a:lnTo>
                      <a:lnTo>
                        <a:pt x="1623" y="655"/>
                      </a:lnTo>
                      <a:lnTo>
                        <a:pt x="1630" y="695"/>
                      </a:lnTo>
                      <a:lnTo>
                        <a:pt x="1636" y="736"/>
                      </a:lnTo>
                      <a:lnTo>
                        <a:pt x="1638" y="778"/>
                      </a:lnTo>
                      <a:lnTo>
                        <a:pt x="1639" y="820"/>
                      </a:lnTo>
                      <a:lnTo>
                        <a:pt x="1638" y="862"/>
                      </a:lnTo>
                      <a:lnTo>
                        <a:pt x="1636" y="903"/>
                      </a:lnTo>
                      <a:lnTo>
                        <a:pt x="1630" y="944"/>
                      </a:lnTo>
                      <a:lnTo>
                        <a:pt x="1623" y="985"/>
                      </a:lnTo>
                      <a:lnTo>
                        <a:pt x="1614" y="1024"/>
                      </a:lnTo>
                      <a:lnTo>
                        <a:pt x="1603" y="1063"/>
                      </a:lnTo>
                      <a:lnTo>
                        <a:pt x="1590" y="1102"/>
                      </a:lnTo>
                      <a:lnTo>
                        <a:pt x="1576" y="1138"/>
                      </a:lnTo>
                      <a:lnTo>
                        <a:pt x="1560" y="1174"/>
                      </a:lnTo>
                      <a:lnTo>
                        <a:pt x="1541" y="1210"/>
                      </a:lnTo>
                      <a:lnTo>
                        <a:pt x="1521" y="1244"/>
                      </a:lnTo>
                      <a:lnTo>
                        <a:pt x="1500" y="1278"/>
                      </a:lnTo>
                      <a:lnTo>
                        <a:pt x="1477" y="1310"/>
                      </a:lnTo>
                      <a:lnTo>
                        <a:pt x="1452" y="1341"/>
                      </a:lnTo>
                      <a:lnTo>
                        <a:pt x="1427" y="1371"/>
                      </a:lnTo>
                      <a:lnTo>
                        <a:pt x="1400" y="1399"/>
                      </a:lnTo>
                      <a:lnTo>
                        <a:pt x="1371" y="1426"/>
                      </a:lnTo>
                      <a:lnTo>
                        <a:pt x="1342" y="1452"/>
                      </a:lnTo>
                      <a:lnTo>
                        <a:pt x="1311" y="1477"/>
                      </a:lnTo>
                      <a:lnTo>
                        <a:pt x="1279" y="1499"/>
                      </a:lnTo>
                      <a:lnTo>
                        <a:pt x="1245" y="1520"/>
                      </a:lnTo>
                      <a:lnTo>
                        <a:pt x="1211" y="1540"/>
                      </a:lnTo>
                      <a:lnTo>
                        <a:pt x="1175" y="1558"/>
                      </a:lnTo>
                      <a:lnTo>
                        <a:pt x="1139" y="1575"/>
                      </a:lnTo>
                      <a:lnTo>
                        <a:pt x="1102" y="1589"/>
                      </a:lnTo>
                      <a:lnTo>
                        <a:pt x="1063" y="1602"/>
                      </a:lnTo>
                      <a:lnTo>
                        <a:pt x="1025" y="1613"/>
                      </a:lnTo>
                      <a:lnTo>
                        <a:pt x="986" y="1623"/>
                      </a:lnTo>
                      <a:lnTo>
                        <a:pt x="945" y="1629"/>
                      </a:lnTo>
                      <a:lnTo>
                        <a:pt x="904" y="1635"/>
                      </a:lnTo>
                      <a:lnTo>
                        <a:pt x="863" y="1637"/>
                      </a:lnTo>
                      <a:lnTo>
                        <a:pt x="820" y="1638"/>
                      </a:lnTo>
                      <a:lnTo>
                        <a:pt x="778" y="1637"/>
                      </a:lnTo>
                      <a:lnTo>
                        <a:pt x="736" y="1635"/>
                      </a:lnTo>
                      <a:lnTo>
                        <a:pt x="695" y="1629"/>
                      </a:lnTo>
                      <a:lnTo>
                        <a:pt x="655" y="1623"/>
                      </a:lnTo>
                      <a:lnTo>
                        <a:pt x="615" y="1613"/>
                      </a:lnTo>
                      <a:lnTo>
                        <a:pt x="576" y="1602"/>
                      </a:lnTo>
                      <a:lnTo>
                        <a:pt x="539" y="1589"/>
                      </a:lnTo>
                      <a:lnTo>
                        <a:pt x="501" y="1575"/>
                      </a:lnTo>
                      <a:lnTo>
                        <a:pt x="465" y="1558"/>
                      </a:lnTo>
                      <a:lnTo>
                        <a:pt x="429" y="1540"/>
                      </a:lnTo>
                      <a:lnTo>
                        <a:pt x="395" y="1520"/>
                      </a:lnTo>
                      <a:lnTo>
                        <a:pt x="362" y="1499"/>
                      </a:lnTo>
                      <a:lnTo>
                        <a:pt x="330" y="1477"/>
                      </a:lnTo>
                      <a:lnTo>
                        <a:pt x="299" y="1452"/>
                      </a:lnTo>
                      <a:lnTo>
                        <a:pt x="270" y="1426"/>
                      </a:lnTo>
                      <a:lnTo>
                        <a:pt x="241" y="1399"/>
                      </a:lnTo>
                      <a:lnTo>
                        <a:pt x="214" y="1371"/>
                      </a:lnTo>
                      <a:lnTo>
                        <a:pt x="187" y="1341"/>
                      </a:lnTo>
                      <a:lnTo>
                        <a:pt x="163" y="1310"/>
                      </a:lnTo>
                      <a:lnTo>
                        <a:pt x="141" y="1278"/>
                      </a:lnTo>
                      <a:lnTo>
                        <a:pt x="119" y="1244"/>
                      </a:lnTo>
                      <a:lnTo>
                        <a:pt x="100" y="1210"/>
                      </a:lnTo>
                      <a:lnTo>
                        <a:pt x="81" y="1174"/>
                      </a:lnTo>
                      <a:lnTo>
                        <a:pt x="65" y="1138"/>
                      </a:lnTo>
                      <a:lnTo>
                        <a:pt x="51" y="1102"/>
                      </a:lnTo>
                      <a:lnTo>
                        <a:pt x="37" y="1063"/>
                      </a:lnTo>
                      <a:lnTo>
                        <a:pt x="27" y="1024"/>
                      </a:lnTo>
                      <a:lnTo>
                        <a:pt x="17" y="985"/>
                      </a:lnTo>
                      <a:lnTo>
                        <a:pt x="9" y="944"/>
                      </a:lnTo>
                      <a:lnTo>
                        <a:pt x="5" y="903"/>
                      </a:lnTo>
                      <a:lnTo>
                        <a:pt x="1" y="862"/>
                      </a:lnTo>
                      <a:lnTo>
                        <a:pt x="0" y="820"/>
                      </a:lnTo>
                      <a:lnTo>
                        <a:pt x="1" y="778"/>
                      </a:lnTo>
                      <a:lnTo>
                        <a:pt x="5" y="736"/>
                      </a:lnTo>
                      <a:lnTo>
                        <a:pt x="9" y="695"/>
                      </a:lnTo>
                      <a:lnTo>
                        <a:pt x="17" y="655"/>
                      </a:lnTo>
                      <a:lnTo>
                        <a:pt x="27" y="615"/>
                      </a:lnTo>
                      <a:lnTo>
                        <a:pt x="37" y="576"/>
                      </a:lnTo>
                      <a:lnTo>
                        <a:pt x="51" y="538"/>
                      </a:lnTo>
                      <a:lnTo>
                        <a:pt x="65" y="501"/>
                      </a:lnTo>
                      <a:lnTo>
                        <a:pt x="81" y="464"/>
                      </a:lnTo>
                      <a:lnTo>
                        <a:pt x="100" y="429"/>
                      </a:lnTo>
                      <a:lnTo>
                        <a:pt x="119" y="395"/>
                      </a:lnTo>
                      <a:lnTo>
                        <a:pt x="141" y="362"/>
                      </a:lnTo>
                      <a:lnTo>
                        <a:pt x="163" y="330"/>
                      </a:lnTo>
                      <a:lnTo>
                        <a:pt x="187" y="299"/>
                      </a:lnTo>
                      <a:lnTo>
                        <a:pt x="214" y="268"/>
                      </a:lnTo>
                      <a:lnTo>
                        <a:pt x="241" y="240"/>
                      </a:lnTo>
                      <a:lnTo>
                        <a:pt x="270" y="213"/>
                      </a:lnTo>
                      <a:lnTo>
                        <a:pt x="299" y="187"/>
                      </a:lnTo>
                      <a:lnTo>
                        <a:pt x="330" y="163"/>
                      </a:lnTo>
                      <a:lnTo>
                        <a:pt x="362" y="141"/>
                      </a:lnTo>
                      <a:lnTo>
                        <a:pt x="395" y="119"/>
                      </a:lnTo>
                      <a:lnTo>
                        <a:pt x="429" y="99"/>
                      </a:lnTo>
                      <a:lnTo>
                        <a:pt x="465" y="81"/>
                      </a:lnTo>
                      <a:lnTo>
                        <a:pt x="501" y="64"/>
                      </a:lnTo>
                      <a:lnTo>
                        <a:pt x="539" y="50"/>
                      </a:lnTo>
                      <a:lnTo>
                        <a:pt x="576" y="37"/>
                      </a:lnTo>
                      <a:lnTo>
                        <a:pt x="615" y="27"/>
                      </a:lnTo>
                      <a:lnTo>
                        <a:pt x="655" y="17"/>
                      </a:lnTo>
                      <a:lnTo>
                        <a:pt x="695" y="9"/>
                      </a:lnTo>
                      <a:lnTo>
                        <a:pt x="736" y="5"/>
                      </a:lnTo>
                      <a:lnTo>
                        <a:pt x="778" y="1"/>
                      </a:lnTo>
                      <a:lnTo>
                        <a:pt x="820" y="0"/>
                      </a:lnTo>
                      <a:close/>
                    </a:path>
                  </a:pathLst>
                </a:custGeom>
                <a:gradFill flip="none" rotWithShape="1">
                  <a:gsLst>
                    <a:gs pos="100000">
                      <a:schemeClr val="bg1">
                        <a:alpha val="0"/>
                      </a:schemeClr>
                    </a:gs>
                    <a:gs pos="0">
                      <a:schemeClr val="bg1">
                        <a:alpha val="46000"/>
                      </a:schemeClr>
                    </a:gs>
                  </a:gsLst>
                  <a:lin ang="5400000" scaled="1"/>
                  <a:tileRect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3" name="Freeform 34"/>
                <p:cNvSpPr>
                  <a:spLocks/>
                </p:cNvSpPr>
                <p:nvPr/>
              </p:nvSpPr>
              <p:spPr bwMode="auto">
                <a:xfrm>
                  <a:off x="5951439" y="5105271"/>
                  <a:ext cx="351507" cy="351507"/>
                </a:xfrm>
                <a:custGeom>
                  <a:avLst/>
                  <a:gdLst>
                    <a:gd name="T0" fmla="*/ 853 w 1548"/>
                    <a:gd name="T1" fmla="*/ 4 h 1547"/>
                    <a:gd name="T2" fmla="*/ 967 w 1548"/>
                    <a:gd name="T3" fmla="*/ 25 h 1547"/>
                    <a:gd name="T4" fmla="*/ 1076 w 1548"/>
                    <a:gd name="T5" fmla="*/ 61 h 1547"/>
                    <a:gd name="T6" fmla="*/ 1176 w 1548"/>
                    <a:gd name="T7" fmla="*/ 112 h 1547"/>
                    <a:gd name="T8" fmla="*/ 1266 w 1548"/>
                    <a:gd name="T9" fmla="*/ 177 h 1547"/>
                    <a:gd name="T10" fmla="*/ 1347 w 1548"/>
                    <a:gd name="T11" fmla="*/ 254 h 1547"/>
                    <a:gd name="T12" fmla="*/ 1415 w 1548"/>
                    <a:gd name="T13" fmla="*/ 341 h 1547"/>
                    <a:gd name="T14" fmla="*/ 1471 w 1548"/>
                    <a:gd name="T15" fmla="*/ 439 h 1547"/>
                    <a:gd name="T16" fmla="*/ 1514 w 1548"/>
                    <a:gd name="T17" fmla="*/ 544 h 1547"/>
                    <a:gd name="T18" fmla="*/ 1539 w 1548"/>
                    <a:gd name="T19" fmla="*/ 655 h 1547"/>
                    <a:gd name="T20" fmla="*/ 1548 w 1548"/>
                    <a:gd name="T21" fmla="*/ 774 h 1547"/>
                    <a:gd name="T22" fmla="*/ 1539 w 1548"/>
                    <a:gd name="T23" fmla="*/ 891 h 1547"/>
                    <a:gd name="T24" fmla="*/ 1514 w 1548"/>
                    <a:gd name="T25" fmla="*/ 1003 h 1547"/>
                    <a:gd name="T26" fmla="*/ 1471 w 1548"/>
                    <a:gd name="T27" fmla="*/ 1109 h 1547"/>
                    <a:gd name="T28" fmla="*/ 1415 w 1548"/>
                    <a:gd name="T29" fmla="*/ 1206 h 1547"/>
                    <a:gd name="T30" fmla="*/ 1347 w 1548"/>
                    <a:gd name="T31" fmla="*/ 1294 h 1547"/>
                    <a:gd name="T32" fmla="*/ 1266 w 1548"/>
                    <a:gd name="T33" fmla="*/ 1370 h 1547"/>
                    <a:gd name="T34" fmla="*/ 1176 w 1548"/>
                    <a:gd name="T35" fmla="*/ 1435 h 1547"/>
                    <a:gd name="T36" fmla="*/ 1076 w 1548"/>
                    <a:gd name="T37" fmla="*/ 1486 h 1547"/>
                    <a:gd name="T38" fmla="*/ 967 w 1548"/>
                    <a:gd name="T39" fmla="*/ 1523 h 1547"/>
                    <a:gd name="T40" fmla="*/ 853 w 1548"/>
                    <a:gd name="T41" fmla="*/ 1543 h 1547"/>
                    <a:gd name="T42" fmla="*/ 735 w 1548"/>
                    <a:gd name="T43" fmla="*/ 1546 h 1547"/>
                    <a:gd name="T44" fmla="*/ 618 w 1548"/>
                    <a:gd name="T45" fmla="*/ 1531 h 1547"/>
                    <a:gd name="T46" fmla="*/ 509 w 1548"/>
                    <a:gd name="T47" fmla="*/ 1500 h 1547"/>
                    <a:gd name="T48" fmla="*/ 405 w 1548"/>
                    <a:gd name="T49" fmla="*/ 1453 h 1547"/>
                    <a:gd name="T50" fmla="*/ 311 w 1548"/>
                    <a:gd name="T51" fmla="*/ 1393 h 1547"/>
                    <a:gd name="T52" fmla="*/ 227 w 1548"/>
                    <a:gd name="T53" fmla="*/ 1320 h 1547"/>
                    <a:gd name="T54" fmla="*/ 154 w 1548"/>
                    <a:gd name="T55" fmla="*/ 1237 h 1547"/>
                    <a:gd name="T56" fmla="*/ 94 w 1548"/>
                    <a:gd name="T57" fmla="*/ 1142 h 1547"/>
                    <a:gd name="T58" fmla="*/ 48 w 1548"/>
                    <a:gd name="T59" fmla="*/ 1040 h 1547"/>
                    <a:gd name="T60" fmla="*/ 16 w 1548"/>
                    <a:gd name="T61" fmla="*/ 929 h 1547"/>
                    <a:gd name="T62" fmla="*/ 1 w 1548"/>
                    <a:gd name="T63" fmla="*/ 814 h 1547"/>
                    <a:gd name="T64" fmla="*/ 5 w 1548"/>
                    <a:gd name="T65" fmla="*/ 694 h 1547"/>
                    <a:gd name="T66" fmla="*/ 25 w 1548"/>
                    <a:gd name="T67" fmla="*/ 580 h 1547"/>
                    <a:gd name="T68" fmla="*/ 62 w 1548"/>
                    <a:gd name="T69" fmla="*/ 473 h 1547"/>
                    <a:gd name="T70" fmla="*/ 113 w 1548"/>
                    <a:gd name="T71" fmla="*/ 373 h 1547"/>
                    <a:gd name="T72" fmla="*/ 177 w 1548"/>
                    <a:gd name="T73" fmla="*/ 281 h 1547"/>
                    <a:gd name="T74" fmla="*/ 254 w 1548"/>
                    <a:gd name="T75" fmla="*/ 202 h 1547"/>
                    <a:gd name="T76" fmla="*/ 341 w 1548"/>
                    <a:gd name="T77" fmla="*/ 132 h 1547"/>
                    <a:gd name="T78" fmla="*/ 439 w 1548"/>
                    <a:gd name="T79" fmla="*/ 76 h 1547"/>
                    <a:gd name="T80" fmla="*/ 544 w 1548"/>
                    <a:gd name="T81" fmla="*/ 35 h 1547"/>
                    <a:gd name="T82" fmla="*/ 656 w 1548"/>
                    <a:gd name="T83" fmla="*/ 9 h 1547"/>
                    <a:gd name="T84" fmla="*/ 774 w 1548"/>
                    <a:gd name="T85" fmla="*/ 0 h 154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548" h="1547">
                      <a:moveTo>
                        <a:pt x="774" y="0"/>
                      </a:moveTo>
                      <a:lnTo>
                        <a:pt x="814" y="1"/>
                      </a:lnTo>
                      <a:lnTo>
                        <a:pt x="853" y="4"/>
                      </a:lnTo>
                      <a:lnTo>
                        <a:pt x="892" y="9"/>
                      </a:lnTo>
                      <a:lnTo>
                        <a:pt x="930" y="16"/>
                      </a:lnTo>
                      <a:lnTo>
                        <a:pt x="967" y="25"/>
                      </a:lnTo>
                      <a:lnTo>
                        <a:pt x="1004" y="35"/>
                      </a:lnTo>
                      <a:lnTo>
                        <a:pt x="1040" y="47"/>
                      </a:lnTo>
                      <a:lnTo>
                        <a:pt x="1076" y="61"/>
                      </a:lnTo>
                      <a:lnTo>
                        <a:pt x="1110" y="76"/>
                      </a:lnTo>
                      <a:lnTo>
                        <a:pt x="1143" y="93"/>
                      </a:lnTo>
                      <a:lnTo>
                        <a:pt x="1176" y="112"/>
                      </a:lnTo>
                      <a:lnTo>
                        <a:pt x="1207" y="132"/>
                      </a:lnTo>
                      <a:lnTo>
                        <a:pt x="1238" y="154"/>
                      </a:lnTo>
                      <a:lnTo>
                        <a:pt x="1266" y="177"/>
                      </a:lnTo>
                      <a:lnTo>
                        <a:pt x="1295" y="202"/>
                      </a:lnTo>
                      <a:lnTo>
                        <a:pt x="1321" y="227"/>
                      </a:lnTo>
                      <a:lnTo>
                        <a:pt x="1347" y="254"/>
                      </a:lnTo>
                      <a:lnTo>
                        <a:pt x="1371" y="281"/>
                      </a:lnTo>
                      <a:lnTo>
                        <a:pt x="1394" y="311"/>
                      </a:lnTo>
                      <a:lnTo>
                        <a:pt x="1415" y="341"/>
                      </a:lnTo>
                      <a:lnTo>
                        <a:pt x="1436" y="373"/>
                      </a:lnTo>
                      <a:lnTo>
                        <a:pt x="1454" y="405"/>
                      </a:lnTo>
                      <a:lnTo>
                        <a:pt x="1471" y="439"/>
                      </a:lnTo>
                      <a:lnTo>
                        <a:pt x="1487" y="473"/>
                      </a:lnTo>
                      <a:lnTo>
                        <a:pt x="1501" y="507"/>
                      </a:lnTo>
                      <a:lnTo>
                        <a:pt x="1514" y="544"/>
                      </a:lnTo>
                      <a:lnTo>
                        <a:pt x="1524" y="580"/>
                      </a:lnTo>
                      <a:lnTo>
                        <a:pt x="1532" y="618"/>
                      </a:lnTo>
                      <a:lnTo>
                        <a:pt x="1539" y="655"/>
                      </a:lnTo>
                      <a:lnTo>
                        <a:pt x="1544" y="694"/>
                      </a:lnTo>
                      <a:lnTo>
                        <a:pt x="1547" y="734"/>
                      </a:lnTo>
                      <a:lnTo>
                        <a:pt x="1548" y="774"/>
                      </a:lnTo>
                      <a:lnTo>
                        <a:pt x="1547" y="814"/>
                      </a:lnTo>
                      <a:lnTo>
                        <a:pt x="1544" y="853"/>
                      </a:lnTo>
                      <a:lnTo>
                        <a:pt x="1539" y="891"/>
                      </a:lnTo>
                      <a:lnTo>
                        <a:pt x="1532" y="929"/>
                      </a:lnTo>
                      <a:lnTo>
                        <a:pt x="1524" y="967"/>
                      </a:lnTo>
                      <a:lnTo>
                        <a:pt x="1514" y="1003"/>
                      </a:lnTo>
                      <a:lnTo>
                        <a:pt x="1501" y="1040"/>
                      </a:lnTo>
                      <a:lnTo>
                        <a:pt x="1487" y="1075"/>
                      </a:lnTo>
                      <a:lnTo>
                        <a:pt x="1471" y="1109"/>
                      </a:lnTo>
                      <a:lnTo>
                        <a:pt x="1454" y="1142"/>
                      </a:lnTo>
                      <a:lnTo>
                        <a:pt x="1436" y="1174"/>
                      </a:lnTo>
                      <a:lnTo>
                        <a:pt x="1415" y="1206"/>
                      </a:lnTo>
                      <a:lnTo>
                        <a:pt x="1394" y="1237"/>
                      </a:lnTo>
                      <a:lnTo>
                        <a:pt x="1371" y="1265"/>
                      </a:lnTo>
                      <a:lnTo>
                        <a:pt x="1347" y="1294"/>
                      </a:lnTo>
                      <a:lnTo>
                        <a:pt x="1321" y="1320"/>
                      </a:lnTo>
                      <a:lnTo>
                        <a:pt x="1295" y="1346"/>
                      </a:lnTo>
                      <a:lnTo>
                        <a:pt x="1266" y="1370"/>
                      </a:lnTo>
                      <a:lnTo>
                        <a:pt x="1238" y="1393"/>
                      </a:lnTo>
                      <a:lnTo>
                        <a:pt x="1207" y="1415"/>
                      </a:lnTo>
                      <a:lnTo>
                        <a:pt x="1176" y="1435"/>
                      </a:lnTo>
                      <a:lnTo>
                        <a:pt x="1143" y="1453"/>
                      </a:lnTo>
                      <a:lnTo>
                        <a:pt x="1110" y="1470"/>
                      </a:lnTo>
                      <a:lnTo>
                        <a:pt x="1076" y="1486"/>
                      </a:lnTo>
                      <a:lnTo>
                        <a:pt x="1040" y="1500"/>
                      </a:lnTo>
                      <a:lnTo>
                        <a:pt x="1004" y="1513"/>
                      </a:lnTo>
                      <a:lnTo>
                        <a:pt x="967" y="1523"/>
                      </a:lnTo>
                      <a:lnTo>
                        <a:pt x="930" y="1531"/>
                      </a:lnTo>
                      <a:lnTo>
                        <a:pt x="892" y="1538"/>
                      </a:lnTo>
                      <a:lnTo>
                        <a:pt x="853" y="1543"/>
                      </a:lnTo>
                      <a:lnTo>
                        <a:pt x="814" y="1546"/>
                      </a:lnTo>
                      <a:lnTo>
                        <a:pt x="774" y="1547"/>
                      </a:lnTo>
                      <a:lnTo>
                        <a:pt x="735" y="1546"/>
                      </a:lnTo>
                      <a:lnTo>
                        <a:pt x="695" y="1543"/>
                      </a:lnTo>
                      <a:lnTo>
                        <a:pt x="656" y="1538"/>
                      </a:lnTo>
                      <a:lnTo>
                        <a:pt x="618" y="1531"/>
                      </a:lnTo>
                      <a:lnTo>
                        <a:pt x="581" y="1523"/>
                      </a:lnTo>
                      <a:lnTo>
                        <a:pt x="544" y="1513"/>
                      </a:lnTo>
                      <a:lnTo>
                        <a:pt x="509" y="1500"/>
                      </a:lnTo>
                      <a:lnTo>
                        <a:pt x="473" y="1486"/>
                      </a:lnTo>
                      <a:lnTo>
                        <a:pt x="439" y="1470"/>
                      </a:lnTo>
                      <a:lnTo>
                        <a:pt x="405" y="1453"/>
                      </a:lnTo>
                      <a:lnTo>
                        <a:pt x="373" y="1435"/>
                      </a:lnTo>
                      <a:lnTo>
                        <a:pt x="341" y="1415"/>
                      </a:lnTo>
                      <a:lnTo>
                        <a:pt x="311" y="1393"/>
                      </a:lnTo>
                      <a:lnTo>
                        <a:pt x="282" y="1370"/>
                      </a:lnTo>
                      <a:lnTo>
                        <a:pt x="254" y="1346"/>
                      </a:lnTo>
                      <a:lnTo>
                        <a:pt x="227" y="1320"/>
                      </a:lnTo>
                      <a:lnTo>
                        <a:pt x="202" y="1294"/>
                      </a:lnTo>
                      <a:lnTo>
                        <a:pt x="177" y="1265"/>
                      </a:lnTo>
                      <a:lnTo>
                        <a:pt x="154" y="1237"/>
                      </a:lnTo>
                      <a:lnTo>
                        <a:pt x="132" y="1206"/>
                      </a:lnTo>
                      <a:lnTo>
                        <a:pt x="113" y="1174"/>
                      </a:lnTo>
                      <a:lnTo>
                        <a:pt x="94" y="1142"/>
                      </a:lnTo>
                      <a:lnTo>
                        <a:pt x="76" y="1109"/>
                      </a:lnTo>
                      <a:lnTo>
                        <a:pt x="62" y="1075"/>
                      </a:lnTo>
                      <a:lnTo>
                        <a:pt x="48" y="1040"/>
                      </a:lnTo>
                      <a:lnTo>
                        <a:pt x="35" y="1003"/>
                      </a:lnTo>
                      <a:lnTo>
                        <a:pt x="25" y="967"/>
                      </a:lnTo>
                      <a:lnTo>
                        <a:pt x="16" y="929"/>
                      </a:lnTo>
                      <a:lnTo>
                        <a:pt x="9" y="891"/>
                      </a:lnTo>
                      <a:lnTo>
                        <a:pt x="5" y="853"/>
                      </a:lnTo>
                      <a:lnTo>
                        <a:pt x="1" y="814"/>
                      </a:lnTo>
                      <a:lnTo>
                        <a:pt x="0" y="774"/>
                      </a:lnTo>
                      <a:lnTo>
                        <a:pt x="1" y="734"/>
                      </a:lnTo>
                      <a:lnTo>
                        <a:pt x="5" y="694"/>
                      </a:lnTo>
                      <a:lnTo>
                        <a:pt x="9" y="655"/>
                      </a:lnTo>
                      <a:lnTo>
                        <a:pt x="16" y="618"/>
                      </a:lnTo>
                      <a:lnTo>
                        <a:pt x="25" y="580"/>
                      </a:lnTo>
                      <a:lnTo>
                        <a:pt x="35" y="544"/>
                      </a:lnTo>
                      <a:lnTo>
                        <a:pt x="48" y="507"/>
                      </a:lnTo>
                      <a:lnTo>
                        <a:pt x="62" y="473"/>
                      </a:lnTo>
                      <a:lnTo>
                        <a:pt x="76" y="439"/>
                      </a:lnTo>
                      <a:lnTo>
                        <a:pt x="94" y="405"/>
                      </a:lnTo>
                      <a:lnTo>
                        <a:pt x="113" y="373"/>
                      </a:lnTo>
                      <a:lnTo>
                        <a:pt x="132" y="341"/>
                      </a:lnTo>
                      <a:lnTo>
                        <a:pt x="154" y="311"/>
                      </a:lnTo>
                      <a:lnTo>
                        <a:pt x="177" y="281"/>
                      </a:lnTo>
                      <a:lnTo>
                        <a:pt x="202" y="254"/>
                      </a:lnTo>
                      <a:lnTo>
                        <a:pt x="227" y="227"/>
                      </a:lnTo>
                      <a:lnTo>
                        <a:pt x="254" y="202"/>
                      </a:lnTo>
                      <a:lnTo>
                        <a:pt x="282" y="177"/>
                      </a:lnTo>
                      <a:lnTo>
                        <a:pt x="311" y="154"/>
                      </a:lnTo>
                      <a:lnTo>
                        <a:pt x="341" y="132"/>
                      </a:lnTo>
                      <a:lnTo>
                        <a:pt x="373" y="112"/>
                      </a:lnTo>
                      <a:lnTo>
                        <a:pt x="405" y="93"/>
                      </a:lnTo>
                      <a:lnTo>
                        <a:pt x="439" y="76"/>
                      </a:lnTo>
                      <a:lnTo>
                        <a:pt x="473" y="61"/>
                      </a:lnTo>
                      <a:lnTo>
                        <a:pt x="509" y="47"/>
                      </a:lnTo>
                      <a:lnTo>
                        <a:pt x="544" y="35"/>
                      </a:lnTo>
                      <a:lnTo>
                        <a:pt x="581" y="25"/>
                      </a:lnTo>
                      <a:lnTo>
                        <a:pt x="618" y="16"/>
                      </a:lnTo>
                      <a:lnTo>
                        <a:pt x="656" y="9"/>
                      </a:lnTo>
                      <a:lnTo>
                        <a:pt x="695" y="4"/>
                      </a:lnTo>
                      <a:lnTo>
                        <a:pt x="735" y="1"/>
                      </a:lnTo>
                      <a:lnTo>
                        <a:pt x="774" y="0"/>
                      </a:lnTo>
                      <a:close/>
                    </a:path>
                  </a:pathLst>
                </a:custGeom>
                <a:solidFill>
                  <a:schemeClr val="tx1">
                    <a:lumMod val="95000"/>
                    <a:lumOff val="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4" name="Freeform 35"/>
                <p:cNvSpPr>
                  <a:spLocks noEditPoints="1"/>
                </p:cNvSpPr>
                <p:nvPr/>
              </p:nvSpPr>
              <p:spPr bwMode="auto">
                <a:xfrm>
                  <a:off x="6059071" y="5211540"/>
                  <a:ext cx="137606" cy="137606"/>
                </a:xfrm>
                <a:custGeom>
                  <a:avLst/>
                  <a:gdLst>
                    <a:gd name="T0" fmla="*/ 470 w 608"/>
                    <a:gd name="T1" fmla="*/ 1 h 609"/>
                    <a:gd name="T2" fmla="*/ 514 w 608"/>
                    <a:gd name="T3" fmla="*/ 13 h 609"/>
                    <a:gd name="T4" fmla="*/ 552 w 608"/>
                    <a:gd name="T5" fmla="*/ 36 h 609"/>
                    <a:gd name="T6" fmla="*/ 563 w 608"/>
                    <a:gd name="T7" fmla="*/ 46 h 609"/>
                    <a:gd name="T8" fmla="*/ 589 w 608"/>
                    <a:gd name="T9" fmla="*/ 81 h 609"/>
                    <a:gd name="T10" fmla="*/ 604 w 608"/>
                    <a:gd name="T11" fmla="*/ 123 h 609"/>
                    <a:gd name="T12" fmla="*/ 608 w 608"/>
                    <a:gd name="T13" fmla="*/ 455 h 609"/>
                    <a:gd name="T14" fmla="*/ 601 w 608"/>
                    <a:gd name="T15" fmla="*/ 501 h 609"/>
                    <a:gd name="T16" fmla="*/ 581 w 608"/>
                    <a:gd name="T17" fmla="*/ 541 h 609"/>
                    <a:gd name="T18" fmla="*/ 552 w 608"/>
                    <a:gd name="T19" fmla="*/ 574 h 609"/>
                    <a:gd name="T20" fmla="*/ 514 w 608"/>
                    <a:gd name="T21" fmla="*/ 597 h 609"/>
                    <a:gd name="T22" fmla="*/ 470 w 608"/>
                    <a:gd name="T23" fmla="*/ 608 h 609"/>
                    <a:gd name="T24" fmla="*/ 138 w 608"/>
                    <a:gd name="T25" fmla="*/ 608 h 609"/>
                    <a:gd name="T26" fmla="*/ 93 w 608"/>
                    <a:gd name="T27" fmla="*/ 597 h 609"/>
                    <a:gd name="T28" fmla="*/ 55 w 608"/>
                    <a:gd name="T29" fmla="*/ 574 h 609"/>
                    <a:gd name="T30" fmla="*/ 35 w 608"/>
                    <a:gd name="T31" fmla="*/ 553 h 609"/>
                    <a:gd name="T32" fmla="*/ 11 w 608"/>
                    <a:gd name="T33" fmla="*/ 514 h 609"/>
                    <a:gd name="T34" fmla="*/ 0 w 608"/>
                    <a:gd name="T35" fmla="*/ 471 h 609"/>
                    <a:gd name="T36" fmla="*/ 0 w 608"/>
                    <a:gd name="T37" fmla="*/ 138 h 609"/>
                    <a:gd name="T38" fmla="*/ 11 w 608"/>
                    <a:gd name="T39" fmla="*/ 95 h 609"/>
                    <a:gd name="T40" fmla="*/ 35 w 608"/>
                    <a:gd name="T41" fmla="*/ 57 h 609"/>
                    <a:gd name="T42" fmla="*/ 67 w 608"/>
                    <a:gd name="T43" fmla="*/ 28 h 609"/>
                    <a:gd name="T44" fmla="*/ 107 w 608"/>
                    <a:gd name="T45" fmla="*/ 8 h 609"/>
                    <a:gd name="T46" fmla="*/ 152 w 608"/>
                    <a:gd name="T47" fmla="*/ 0 h 609"/>
                    <a:gd name="T48" fmla="*/ 143 w 608"/>
                    <a:gd name="T49" fmla="*/ 61 h 609"/>
                    <a:gd name="T50" fmla="*/ 116 w 608"/>
                    <a:gd name="T51" fmla="*/ 68 h 609"/>
                    <a:gd name="T52" fmla="*/ 93 w 608"/>
                    <a:gd name="T53" fmla="*/ 81 h 609"/>
                    <a:gd name="T54" fmla="*/ 75 w 608"/>
                    <a:gd name="T55" fmla="*/ 102 h 609"/>
                    <a:gd name="T56" fmla="*/ 62 w 608"/>
                    <a:gd name="T57" fmla="*/ 127 h 609"/>
                    <a:gd name="T58" fmla="*/ 58 w 608"/>
                    <a:gd name="T59" fmla="*/ 154 h 609"/>
                    <a:gd name="T60" fmla="*/ 60 w 608"/>
                    <a:gd name="T61" fmla="*/ 475 h 609"/>
                    <a:gd name="T62" fmla="*/ 69 w 608"/>
                    <a:gd name="T63" fmla="*/ 501 h 609"/>
                    <a:gd name="T64" fmla="*/ 86 w 608"/>
                    <a:gd name="T65" fmla="*/ 522 h 609"/>
                    <a:gd name="T66" fmla="*/ 108 w 608"/>
                    <a:gd name="T67" fmla="*/ 538 h 609"/>
                    <a:gd name="T68" fmla="*/ 134 w 608"/>
                    <a:gd name="T69" fmla="*/ 547 h 609"/>
                    <a:gd name="T70" fmla="*/ 454 w 608"/>
                    <a:gd name="T71" fmla="*/ 550 h 609"/>
                    <a:gd name="T72" fmla="*/ 482 w 608"/>
                    <a:gd name="T73" fmla="*/ 545 h 609"/>
                    <a:gd name="T74" fmla="*/ 507 w 608"/>
                    <a:gd name="T75" fmla="*/ 534 h 609"/>
                    <a:gd name="T76" fmla="*/ 527 w 608"/>
                    <a:gd name="T77" fmla="*/ 516 h 609"/>
                    <a:gd name="T78" fmla="*/ 541 w 608"/>
                    <a:gd name="T79" fmla="*/ 492 h 609"/>
                    <a:gd name="T80" fmla="*/ 548 w 608"/>
                    <a:gd name="T81" fmla="*/ 465 h 609"/>
                    <a:gd name="T82" fmla="*/ 548 w 608"/>
                    <a:gd name="T83" fmla="*/ 145 h 609"/>
                    <a:gd name="T84" fmla="*/ 541 w 608"/>
                    <a:gd name="T85" fmla="*/ 118 h 609"/>
                    <a:gd name="T86" fmla="*/ 527 w 608"/>
                    <a:gd name="T87" fmla="*/ 94 h 609"/>
                    <a:gd name="T88" fmla="*/ 514 w 608"/>
                    <a:gd name="T89" fmla="*/ 81 h 609"/>
                    <a:gd name="T90" fmla="*/ 491 w 608"/>
                    <a:gd name="T91" fmla="*/ 68 h 609"/>
                    <a:gd name="T92" fmla="*/ 464 w 608"/>
                    <a:gd name="T93" fmla="*/ 61 h 60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608" h="609">
                      <a:moveTo>
                        <a:pt x="152" y="0"/>
                      </a:moveTo>
                      <a:lnTo>
                        <a:pt x="454" y="0"/>
                      </a:lnTo>
                      <a:lnTo>
                        <a:pt x="470" y="1"/>
                      </a:lnTo>
                      <a:lnTo>
                        <a:pt x="484" y="4"/>
                      </a:lnTo>
                      <a:lnTo>
                        <a:pt x="499" y="8"/>
                      </a:lnTo>
                      <a:lnTo>
                        <a:pt x="514" y="13"/>
                      </a:lnTo>
                      <a:lnTo>
                        <a:pt x="527" y="20"/>
                      </a:lnTo>
                      <a:lnTo>
                        <a:pt x="539" y="28"/>
                      </a:lnTo>
                      <a:lnTo>
                        <a:pt x="552" y="36"/>
                      </a:lnTo>
                      <a:lnTo>
                        <a:pt x="562" y="46"/>
                      </a:lnTo>
                      <a:lnTo>
                        <a:pt x="562" y="46"/>
                      </a:lnTo>
                      <a:lnTo>
                        <a:pt x="563" y="46"/>
                      </a:lnTo>
                      <a:lnTo>
                        <a:pt x="572" y="57"/>
                      </a:lnTo>
                      <a:lnTo>
                        <a:pt x="581" y="69"/>
                      </a:lnTo>
                      <a:lnTo>
                        <a:pt x="589" y="81"/>
                      </a:lnTo>
                      <a:lnTo>
                        <a:pt x="595" y="95"/>
                      </a:lnTo>
                      <a:lnTo>
                        <a:pt x="601" y="109"/>
                      </a:lnTo>
                      <a:lnTo>
                        <a:pt x="604" y="123"/>
                      </a:lnTo>
                      <a:lnTo>
                        <a:pt x="606" y="138"/>
                      </a:lnTo>
                      <a:lnTo>
                        <a:pt x="608" y="154"/>
                      </a:lnTo>
                      <a:lnTo>
                        <a:pt x="608" y="455"/>
                      </a:lnTo>
                      <a:lnTo>
                        <a:pt x="606" y="471"/>
                      </a:lnTo>
                      <a:lnTo>
                        <a:pt x="604" y="486"/>
                      </a:lnTo>
                      <a:lnTo>
                        <a:pt x="601" y="501"/>
                      </a:lnTo>
                      <a:lnTo>
                        <a:pt x="595" y="514"/>
                      </a:lnTo>
                      <a:lnTo>
                        <a:pt x="589" y="528"/>
                      </a:lnTo>
                      <a:lnTo>
                        <a:pt x="581" y="541"/>
                      </a:lnTo>
                      <a:lnTo>
                        <a:pt x="572" y="553"/>
                      </a:lnTo>
                      <a:lnTo>
                        <a:pt x="563" y="563"/>
                      </a:lnTo>
                      <a:lnTo>
                        <a:pt x="552" y="574"/>
                      </a:lnTo>
                      <a:lnTo>
                        <a:pt x="540" y="583"/>
                      </a:lnTo>
                      <a:lnTo>
                        <a:pt x="527" y="590"/>
                      </a:lnTo>
                      <a:lnTo>
                        <a:pt x="514" y="597"/>
                      </a:lnTo>
                      <a:lnTo>
                        <a:pt x="499" y="602"/>
                      </a:lnTo>
                      <a:lnTo>
                        <a:pt x="484" y="606"/>
                      </a:lnTo>
                      <a:lnTo>
                        <a:pt x="470" y="608"/>
                      </a:lnTo>
                      <a:lnTo>
                        <a:pt x="454" y="609"/>
                      </a:lnTo>
                      <a:lnTo>
                        <a:pt x="152" y="609"/>
                      </a:lnTo>
                      <a:lnTo>
                        <a:pt x="138" y="608"/>
                      </a:lnTo>
                      <a:lnTo>
                        <a:pt x="122" y="606"/>
                      </a:lnTo>
                      <a:lnTo>
                        <a:pt x="108" y="602"/>
                      </a:lnTo>
                      <a:lnTo>
                        <a:pt x="93" y="597"/>
                      </a:lnTo>
                      <a:lnTo>
                        <a:pt x="79" y="590"/>
                      </a:lnTo>
                      <a:lnTo>
                        <a:pt x="67" y="583"/>
                      </a:lnTo>
                      <a:lnTo>
                        <a:pt x="55" y="574"/>
                      </a:lnTo>
                      <a:lnTo>
                        <a:pt x="44" y="563"/>
                      </a:lnTo>
                      <a:lnTo>
                        <a:pt x="44" y="563"/>
                      </a:lnTo>
                      <a:lnTo>
                        <a:pt x="35" y="553"/>
                      </a:lnTo>
                      <a:lnTo>
                        <a:pt x="26" y="541"/>
                      </a:lnTo>
                      <a:lnTo>
                        <a:pt x="18" y="528"/>
                      </a:lnTo>
                      <a:lnTo>
                        <a:pt x="11" y="514"/>
                      </a:lnTo>
                      <a:lnTo>
                        <a:pt x="6" y="501"/>
                      </a:lnTo>
                      <a:lnTo>
                        <a:pt x="2" y="486"/>
                      </a:lnTo>
                      <a:lnTo>
                        <a:pt x="0" y="471"/>
                      </a:lnTo>
                      <a:lnTo>
                        <a:pt x="0" y="455"/>
                      </a:lnTo>
                      <a:lnTo>
                        <a:pt x="0" y="154"/>
                      </a:lnTo>
                      <a:lnTo>
                        <a:pt x="0" y="138"/>
                      </a:lnTo>
                      <a:lnTo>
                        <a:pt x="2" y="123"/>
                      </a:lnTo>
                      <a:lnTo>
                        <a:pt x="6" y="109"/>
                      </a:lnTo>
                      <a:lnTo>
                        <a:pt x="11" y="95"/>
                      </a:lnTo>
                      <a:lnTo>
                        <a:pt x="18" y="81"/>
                      </a:lnTo>
                      <a:lnTo>
                        <a:pt x="26" y="69"/>
                      </a:lnTo>
                      <a:lnTo>
                        <a:pt x="35" y="57"/>
                      </a:lnTo>
                      <a:lnTo>
                        <a:pt x="44" y="46"/>
                      </a:lnTo>
                      <a:lnTo>
                        <a:pt x="55" y="36"/>
                      </a:lnTo>
                      <a:lnTo>
                        <a:pt x="67" y="28"/>
                      </a:lnTo>
                      <a:lnTo>
                        <a:pt x="79" y="20"/>
                      </a:lnTo>
                      <a:lnTo>
                        <a:pt x="93" y="13"/>
                      </a:lnTo>
                      <a:lnTo>
                        <a:pt x="107" y="8"/>
                      </a:lnTo>
                      <a:lnTo>
                        <a:pt x="122" y="4"/>
                      </a:lnTo>
                      <a:lnTo>
                        <a:pt x="138" y="1"/>
                      </a:lnTo>
                      <a:lnTo>
                        <a:pt x="152" y="0"/>
                      </a:lnTo>
                      <a:close/>
                      <a:moveTo>
                        <a:pt x="454" y="60"/>
                      </a:moveTo>
                      <a:lnTo>
                        <a:pt x="152" y="60"/>
                      </a:lnTo>
                      <a:lnTo>
                        <a:pt x="143" y="61"/>
                      </a:lnTo>
                      <a:lnTo>
                        <a:pt x="134" y="62"/>
                      </a:lnTo>
                      <a:lnTo>
                        <a:pt x="125" y="64"/>
                      </a:lnTo>
                      <a:lnTo>
                        <a:pt x="116" y="68"/>
                      </a:lnTo>
                      <a:lnTo>
                        <a:pt x="108" y="71"/>
                      </a:lnTo>
                      <a:lnTo>
                        <a:pt x="100" y="76"/>
                      </a:lnTo>
                      <a:lnTo>
                        <a:pt x="93" y="81"/>
                      </a:lnTo>
                      <a:lnTo>
                        <a:pt x="86" y="88"/>
                      </a:lnTo>
                      <a:lnTo>
                        <a:pt x="79" y="94"/>
                      </a:lnTo>
                      <a:lnTo>
                        <a:pt x="75" y="102"/>
                      </a:lnTo>
                      <a:lnTo>
                        <a:pt x="69" y="110"/>
                      </a:lnTo>
                      <a:lnTo>
                        <a:pt x="66" y="118"/>
                      </a:lnTo>
                      <a:lnTo>
                        <a:pt x="62" y="127"/>
                      </a:lnTo>
                      <a:lnTo>
                        <a:pt x="60" y="135"/>
                      </a:lnTo>
                      <a:lnTo>
                        <a:pt x="59" y="145"/>
                      </a:lnTo>
                      <a:lnTo>
                        <a:pt x="58" y="154"/>
                      </a:lnTo>
                      <a:lnTo>
                        <a:pt x="58" y="455"/>
                      </a:lnTo>
                      <a:lnTo>
                        <a:pt x="59" y="465"/>
                      </a:lnTo>
                      <a:lnTo>
                        <a:pt x="60" y="475"/>
                      </a:lnTo>
                      <a:lnTo>
                        <a:pt x="62" y="484"/>
                      </a:lnTo>
                      <a:lnTo>
                        <a:pt x="66" y="492"/>
                      </a:lnTo>
                      <a:lnTo>
                        <a:pt x="69" y="501"/>
                      </a:lnTo>
                      <a:lnTo>
                        <a:pt x="75" y="509"/>
                      </a:lnTo>
                      <a:lnTo>
                        <a:pt x="79" y="516"/>
                      </a:lnTo>
                      <a:lnTo>
                        <a:pt x="86" y="522"/>
                      </a:lnTo>
                      <a:lnTo>
                        <a:pt x="93" y="528"/>
                      </a:lnTo>
                      <a:lnTo>
                        <a:pt x="100" y="534"/>
                      </a:lnTo>
                      <a:lnTo>
                        <a:pt x="108" y="538"/>
                      </a:lnTo>
                      <a:lnTo>
                        <a:pt x="116" y="543"/>
                      </a:lnTo>
                      <a:lnTo>
                        <a:pt x="125" y="545"/>
                      </a:lnTo>
                      <a:lnTo>
                        <a:pt x="134" y="547"/>
                      </a:lnTo>
                      <a:lnTo>
                        <a:pt x="143" y="550"/>
                      </a:lnTo>
                      <a:lnTo>
                        <a:pt x="152" y="550"/>
                      </a:lnTo>
                      <a:lnTo>
                        <a:pt x="454" y="550"/>
                      </a:lnTo>
                      <a:lnTo>
                        <a:pt x="464" y="550"/>
                      </a:lnTo>
                      <a:lnTo>
                        <a:pt x="473" y="547"/>
                      </a:lnTo>
                      <a:lnTo>
                        <a:pt x="482" y="545"/>
                      </a:lnTo>
                      <a:lnTo>
                        <a:pt x="491" y="543"/>
                      </a:lnTo>
                      <a:lnTo>
                        <a:pt x="499" y="538"/>
                      </a:lnTo>
                      <a:lnTo>
                        <a:pt x="507" y="534"/>
                      </a:lnTo>
                      <a:lnTo>
                        <a:pt x="514" y="528"/>
                      </a:lnTo>
                      <a:lnTo>
                        <a:pt x="521" y="522"/>
                      </a:lnTo>
                      <a:lnTo>
                        <a:pt x="527" y="516"/>
                      </a:lnTo>
                      <a:lnTo>
                        <a:pt x="532" y="508"/>
                      </a:lnTo>
                      <a:lnTo>
                        <a:pt x="537" y="501"/>
                      </a:lnTo>
                      <a:lnTo>
                        <a:pt x="541" y="492"/>
                      </a:lnTo>
                      <a:lnTo>
                        <a:pt x="545" y="484"/>
                      </a:lnTo>
                      <a:lnTo>
                        <a:pt x="547" y="475"/>
                      </a:lnTo>
                      <a:lnTo>
                        <a:pt x="548" y="465"/>
                      </a:lnTo>
                      <a:lnTo>
                        <a:pt x="548" y="455"/>
                      </a:lnTo>
                      <a:lnTo>
                        <a:pt x="548" y="154"/>
                      </a:lnTo>
                      <a:lnTo>
                        <a:pt x="548" y="145"/>
                      </a:lnTo>
                      <a:lnTo>
                        <a:pt x="547" y="135"/>
                      </a:lnTo>
                      <a:lnTo>
                        <a:pt x="545" y="126"/>
                      </a:lnTo>
                      <a:lnTo>
                        <a:pt x="541" y="118"/>
                      </a:lnTo>
                      <a:lnTo>
                        <a:pt x="537" y="110"/>
                      </a:lnTo>
                      <a:lnTo>
                        <a:pt x="532" y="102"/>
                      </a:lnTo>
                      <a:lnTo>
                        <a:pt x="527" y="94"/>
                      </a:lnTo>
                      <a:lnTo>
                        <a:pt x="521" y="88"/>
                      </a:lnTo>
                      <a:lnTo>
                        <a:pt x="521" y="87"/>
                      </a:lnTo>
                      <a:lnTo>
                        <a:pt x="514" y="81"/>
                      </a:lnTo>
                      <a:lnTo>
                        <a:pt x="507" y="76"/>
                      </a:lnTo>
                      <a:lnTo>
                        <a:pt x="499" y="71"/>
                      </a:lnTo>
                      <a:lnTo>
                        <a:pt x="491" y="68"/>
                      </a:lnTo>
                      <a:lnTo>
                        <a:pt x="482" y="64"/>
                      </a:lnTo>
                      <a:lnTo>
                        <a:pt x="473" y="62"/>
                      </a:lnTo>
                      <a:lnTo>
                        <a:pt x="464" y="61"/>
                      </a:lnTo>
                      <a:lnTo>
                        <a:pt x="454" y="60"/>
                      </a:lnTo>
                      <a:close/>
                    </a:path>
                  </a:pathLst>
                </a:custGeom>
                <a:gradFill flip="none" rotWithShape="1">
                  <a:gsLst>
                    <a:gs pos="46000">
                      <a:srgbClr val="FFFFFF"/>
                    </a:gs>
                    <a:gs pos="56000">
                      <a:schemeClr val="bg1">
                        <a:alpha val="45000"/>
                      </a:schemeClr>
                    </a:gs>
                    <a:gs pos="100000">
                      <a:srgbClr val="FFFFFF"/>
                    </a:gs>
                    <a:gs pos="0">
                      <a:schemeClr val="bg1">
                        <a:alpha val="97000"/>
                      </a:schemeClr>
                    </a:gs>
                  </a:gsLst>
                  <a:lin ang="18900000" scaled="1"/>
                  <a:tileRect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35" name="Freeform 42"/>
                <p:cNvSpPr>
                  <a:spLocks/>
                </p:cNvSpPr>
                <p:nvPr/>
              </p:nvSpPr>
              <p:spPr bwMode="auto">
                <a:xfrm>
                  <a:off x="5940539" y="5287836"/>
                  <a:ext cx="371944" cy="178479"/>
                </a:xfrm>
                <a:custGeom>
                  <a:avLst/>
                  <a:gdLst>
                    <a:gd name="T0" fmla="*/ 1635 w 1638"/>
                    <a:gd name="T1" fmla="*/ 43 h 786"/>
                    <a:gd name="T2" fmla="*/ 1625 w 1638"/>
                    <a:gd name="T3" fmla="*/ 122 h 786"/>
                    <a:gd name="T4" fmla="*/ 1605 w 1638"/>
                    <a:gd name="T5" fmla="*/ 199 h 786"/>
                    <a:gd name="T6" fmla="*/ 1580 w 1638"/>
                    <a:gd name="T7" fmla="*/ 273 h 786"/>
                    <a:gd name="T8" fmla="*/ 1547 w 1638"/>
                    <a:gd name="T9" fmla="*/ 344 h 786"/>
                    <a:gd name="T10" fmla="*/ 1508 w 1638"/>
                    <a:gd name="T11" fmla="*/ 410 h 786"/>
                    <a:gd name="T12" fmla="*/ 1464 w 1638"/>
                    <a:gd name="T13" fmla="*/ 473 h 786"/>
                    <a:gd name="T14" fmla="*/ 1414 w 1638"/>
                    <a:gd name="T15" fmla="*/ 531 h 786"/>
                    <a:gd name="T16" fmla="*/ 1359 w 1638"/>
                    <a:gd name="T17" fmla="*/ 584 h 786"/>
                    <a:gd name="T18" fmla="*/ 1298 w 1638"/>
                    <a:gd name="T19" fmla="*/ 631 h 786"/>
                    <a:gd name="T20" fmla="*/ 1235 w 1638"/>
                    <a:gd name="T21" fmla="*/ 674 h 786"/>
                    <a:gd name="T22" fmla="*/ 1166 w 1638"/>
                    <a:gd name="T23" fmla="*/ 710 h 786"/>
                    <a:gd name="T24" fmla="*/ 1094 w 1638"/>
                    <a:gd name="T25" fmla="*/ 740 h 786"/>
                    <a:gd name="T26" fmla="*/ 1019 w 1638"/>
                    <a:gd name="T27" fmla="*/ 763 h 786"/>
                    <a:gd name="T28" fmla="*/ 940 w 1638"/>
                    <a:gd name="T29" fmla="*/ 777 h 786"/>
                    <a:gd name="T30" fmla="*/ 861 w 1638"/>
                    <a:gd name="T31" fmla="*/ 785 h 786"/>
                    <a:gd name="T32" fmla="*/ 778 w 1638"/>
                    <a:gd name="T33" fmla="*/ 785 h 786"/>
                    <a:gd name="T34" fmla="*/ 697 w 1638"/>
                    <a:gd name="T35" fmla="*/ 777 h 786"/>
                    <a:gd name="T36" fmla="*/ 619 w 1638"/>
                    <a:gd name="T37" fmla="*/ 763 h 786"/>
                    <a:gd name="T38" fmla="*/ 543 w 1638"/>
                    <a:gd name="T39" fmla="*/ 740 h 786"/>
                    <a:gd name="T40" fmla="*/ 472 w 1638"/>
                    <a:gd name="T41" fmla="*/ 710 h 786"/>
                    <a:gd name="T42" fmla="*/ 403 w 1638"/>
                    <a:gd name="T43" fmla="*/ 674 h 786"/>
                    <a:gd name="T44" fmla="*/ 338 w 1638"/>
                    <a:gd name="T45" fmla="*/ 631 h 786"/>
                    <a:gd name="T46" fmla="*/ 279 w 1638"/>
                    <a:gd name="T47" fmla="*/ 584 h 786"/>
                    <a:gd name="T48" fmla="*/ 223 w 1638"/>
                    <a:gd name="T49" fmla="*/ 530 h 786"/>
                    <a:gd name="T50" fmla="*/ 173 w 1638"/>
                    <a:gd name="T51" fmla="*/ 472 h 786"/>
                    <a:gd name="T52" fmla="*/ 128 w 1638"/>
                    <a:gd name="T53" fmla="*/ 409 h 786"/>
                    <a:gd name="T54" fmla="*/ 89 w 1638"/>
                    <a:gd name="T55" fmla="*/ 342 h 786"/>
                    <a:gd name="T56" fmla="*/ 58 w 1638"/>
                    <a:gd name="T57" fmla="*/ 271 h 786"/>
                    <a:gd name="T58" fmla="*/ 32 w 1638"/>
                    <a:gd name="T59" fmla="*/ 197 h 786"/>
                    <a:gd name="T60" fmla="*/ 14 w 1638"/>
                    <a:gd name="T61" fmla="*/ 120 h 786"/>
                    <a:gd name="T62" fmla="*/ 3 w 1638"/>
                    <a:gd name="T63" fmla="*/ 40 h 786"/>
                    <a:gd name="T64" fmla="*/ 48 w 1638"/>
                    <a:gd name="T65" fmla="*/ 6 h 786"/>
                    <a:gd name="T66" fmla="*/ 146 w 1638"/>
                    <a:gd name="T67" fmla="*/ 18 h 786"/>
                    <a:gd name="T68" fmla="*/ 246 w 1638"/>
                    <a:gd name="T69" fmla="*/ 28 h 786"/>
                    <a:gd name="T70" fmla="*/ 348 w 1638"/>
                    <a:gd name="T71" fmla="*/ 37 h 786"/>
                    <a:gd name="T72" fmla="*/ 452 w 1638"/>
                    <a:gd name="T73" fmla="*/ 44 h 786"/>
                    <a:gd name="T74" fmla="*/ 557 w 1638"/>
                    <a:gd name="T75" fmla="*/ 50 h 786"/>
                    <a:gd name="T76" fmla="*/ 664 w 1638"/>
                    <a:gd name="T77" fmla="*/ 53 h 786"/>
                    <a:gd name="T78" fmla="*/ 774 w 1638"/>
                    <a:gd name="T79" fmla="*/ 56 h 786"/>
                    <a:gd name="T80" fmla="*/ 882 w 1638"/>
                    <a:gd name="T81" fmla="*/ 56 h 786"/>
                    <a:gd name="T82" fmla="*/ 988 w 1638"/>
                    <a:gd name="T83" fmla="*/ 53 h 786"/>
                    <a:gd name="T84" fmla="*/ 1093 w 1638"/>
                    <a:gd name="T85" fmla="*/ 50 h 786"/>
                    <a:gd name="T86" fmla="*/ 1196 w 1638"/>
                    <a:gd name="T87" fmla="*/ 45 h 786"/>
                    <a:gd name="T88" fmla="*/ 1297 w 1638"/>
                    <a:gd name="T89" fmla="*/ 39 h 786"/>
                    <a:gd name="T90" fmla="*/ 1398 w 1638"/>
                    <a:gd name="T91" fmla="*/ 30 h 786"/>
                    <a:gd name="T92" fmla="*/ 1495 w 1638"/>
                    <a:gd name="T93" fmla="*/ 20 h 786"/>
                    <a:gd name="T94" fmla="*/ 1590 w 1638"/>
                    <a:gd name="T95" fmla="*/ 9 h 7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1638" h="786">
                      <a:moveTo>
                        <a:pt x="1638" y="2"/>
                      </a:moveTo>
                      <a:lnTo>
                        <a:pt x="1635" y="43"/>
                      </a:lnTo>
                      <a:lnTo>
                        <a:pt x="1630" y="83"/>
                      </a:lnTo>
                      <a:lnTo>
                        <a:pt x="1625" y="122"/>
                      </a:lnTo>
                      <a:lnTo>
                        <a:pt x="1616" y="161"/>
                      </a:lnTo>
                      <a:lnTo>
                        <a:pt x="1605" y="199"/>
                      </a:lnTo>
                      <a:lnTo>
                        <a:pt x="1594" y="237"/>
                      </a:lnTo>
                      <a:lnTo>
                        <a:pt x="1580" y="273"/>
                      </a:lnTo>
                      <a:lnTo>
                        <a:pt x="1564" y="309"/>
                      </a:lnTo>
                      <a:lnTo>
                        <a:pt x="1547" y="344"/>
                      </a:lnTo>
                      <a:lnTo>
                        <a:pt x="1529" y="377"/>
                      </a:lnTo>
                      <a:lnTo>
                        <a:pt x="1508" y="410"/>
                      </a:lnTo>
                      <a:lnTo>
                        <a:pt x="1488" y="442"/>
                      </a:lnTo>
                      <a:lnTo>
                        <a:pt x="1464" y="473"/>
                      </a:lnTo>
                      <a:lnTo>
                        <a:pt x="1440" y="503"/>
                      </a:lnTo>
                      <a:lnTo>
                        <a:pt x="1414" y="531"/>
                      </a:lnTo>
                      <a:lnTo>
                        <a:pt x="1387" y="558"/>
                      </a:lnTo>
                      <a:lnTo>
                        <a:pt x="1359" y="584"/>
                      </a:lnTo>
                      <a:lnTo>
                        <a:pt x="1329" y="609"/>
                      </a:lnTo>
                      <a:lnTo>
                        <a:pt x="1298" y="631"/>
                      </a:lnTo>
                      <a:lnTo>
                        <a:pt x="1268" y="654"/>
                      </a:lnTo>
                      <a:lnTo>
                        <a:pt x="1235" y="674"/>
                      </a:lnTo>
                      <a:lnTo>
                        <a:pt x="1200" y="693"/>
                      </a:lnTo>
                      <a:lnTo>
                        <a:pt x="1166" y="710"/>
                      </a:lnTo>
                      <a:lnTo>
                        <a:pt x="1131" y="726"/>
                      </a:lnTo>
                      <a:lnTo>
                        <a:pt x="1094" y="740"/>
                      </a:lnTo>
                      <a:lnTo>
                        <a:pt x="1057" y="752"/>
                      </a:lnTo>
                      <a:lnTo>
                        <a:pt x="1019" y="763"/>
                      </a:lnTo>
                      <a:lnTo>
                        <a:pt x="980" y="771"/>
                      </a:lnTo>
                      <a:lnTo>
                        <a:pt x="940" y="777"/>
                      </a:lnTo>
                      <a:lnTo>
                        <a:pt x="900" y="783"/>
                      </a:lnTo>
                      <a:lnTo>
                        <a:pt x="861" y="785"/>
                      </a:lnTo>
                      <a:lnTo>
                        <a:pt x="819" y="786"/>
                      </a:lnTo>
                      <a:lnTo>
                        <a:pt x="778" y="785"/>
                      </a:lnTo>
                      <a:lnTo>
                        <a:pt x="737" y="783"/>
                      </a:lnTo>
                      <a:lnTo>
                        <a:pt x="697" y="777"/>
                      </a:lnTo>
                      <a:lnTo>
                        <a:pt x="657" y="771"/>
                      </a:lnTo>
                      <a:lnTo>
                        <a:pt x="619" y="763"/>
                      </a:lnTo>
                      <a:lnTo>
                        <a:pt x="581" y="752"/>
                      </a:lnTo>
                      <a:lnTo>
                        <a:pt x="543" y="740"/>
                      </a:lnTo>
                      <a:lnTo>
                        <a:pt x="507" y="725"/>
                      </a:lnTo>
                      <a:lnTo>
                        <a:pt x="472" y="710"/>
                      </a:lnTo>
                      <a:lnTo>
                        <a:pt x="436" y="693"/>
                      </a:lnTo>
                      <a:lnTo>
                        <a:pt x="403" y="674"/>
                      </a:lnTo>
                      <a:lnTo>
                        <a:pt x="370" y="653"/>
                      </a:lnTo>
                      <a:lnTo>
                        <a:pt x="338" y="631"/>
                      </a:lnTo>
                      <a:lnTo>
                        <a:pt x="308" y="607"/>
                      </a:lnTo>
                      <a:lnTo>
                        <a:pt x="279" y="584"/>
                      </a:lnTo>
                      <a:lnTo>
                        <a:pt x="250" y="557"/>
                      </a:lnTo>
                      <a:lnTo>
                        <a:pt x="223" y="530"/>
                      </a:lnTo>
                      <a:lnTo>
                        <a:pt x="198" y="501"/>
                      </a:lnTo>
                      <a:lnTo>
                        <a:pt x="173" y="472"/>
                      </a:lnTo>
                      <a:lnTo>
                        <a:pt x="150" y="441"/>
                      </a:lnTo>
                      <a:lnTo>
                        <a:pt x="128" y="409"/>
                      </a:lnTo>
                      <a:lnTo>
                        <a:pt x="109" y="376"/>
                      </a:lnTo>
                      <a:lnTo>
                        <a:pt x="89" y="342"/>
                      </a:lnTo>
                      <a:lnTo>
                        <a:pt x="73" y="308"/>
                      </a:lnTo>
                      <a:lnTo>
                        <a:pt x="58" y="271"/>
                      </a:lnTo>
                      <a:lnTo>
                        <a:pt x="44" y="235"/>
                      </a:lnTo>
                      <a:lnTo>
                        <a:pt x="32" y="197"/>
                      </a:lnTo>
                      <a:lnTo>
                        <a:pt x="22" y="159"/>
                      </a:lnTo>
                      <a:lnTo>
                        <a:pt x="14" y="120"/>
                      </a:lnTo>
                      <a:lnTo>
                        <a:pt x="7" y="81"/>
                      </a:lnTo>
                      <a:lnTo>
                        <a:pt x="3" y="40"/>
                      </a:lnTo>
                      <a:lnTo>
                        <a:pt x="0" y="0"/>
                      </a:lnTo>
                      <a:lnTo>
                        <a:pt x="48" y="6"/>
                      </a:lnTo>
                      <a:lnTo>
                        <a:pt x="96" y="12"/>
                      </a:lnTo>
                      <a:lnTo>
                        <a:pt x="146" y="18"/>
                      </a:lnTo>
                      <a:lnTo>
                        <a:pt x="196" y="24"/>
                      </a:lnTo>
                      <a:lnTo>
                        <a:pt x="246" y="28"/>
                      </a:lnTo>
                      <a:lnTo>
                        <a:pt x="297" y="33"/>
                      </a:lnTo>
                      <a:lnTo>
                        <a:pt x="348" y="37"/>
                      </a:lnTo>
                      <a:lnTo>
                        <a:pt x="400" y="41"/>
                      </a:lnTo>
                      <a:lnTo>
                        <a:pt x="452" y="44"/>
                      </a:lnTo>
                      <a:lnTo>
                        <a:pt x="505" y="48"/>
                      </a:lnTo>
                      <a:lnTo>
                        <a:pt x="557" y="50"/>
                      </a:lnTo>
                      <a:lnTo>
                        <a:pt x="611" y="52"/>
                      </a:lnTo>
                      <a:lnTo>
                        <a:pt x="664" y="53"/>
                      </a:lnTo>
                      <a:lnTo>
                        <a:pt x="719" y="55"/>
                      </a:lnTo>
                      <a:lnTo>
                        <a:pt x="774" y="56"/>
                      </a:lnTo>
                      <a:lnTo>
                        <a:pt x="829" y="56"/>
                      </a:lnTo>
                      <a:lnTo>
                        <a:pt x="882" y="56"/>
                      </a:lnTo>
                      <a:lnTo>
                        <a:pt x="936" y="55"/>
                      </a:lnTo>
                      <a:lnTo>
                        <a:pt x="988" y="53"/>
                      </a:lnTo>
                      <a:lnTo>
                        <a:pt x="1041" y="52"/>
                      </a:lnTo>
                      <a:lnTo>
                        <a:pt x="1093" y="50"/>
                      </a:lnTo>
                      <a:lnTo>
                        <a:pt x="1145" y="48"/>
                      </a:lnTo>
                      <a:lnTo>
                        <a:pt x="1196" y="45"/>
                      </a:lnTo>
                      <a:lnTo>
                        <a:pt x="1247" y="42"/>
                      </a:lnTo>
                      <a:lnTo>
                        <a:pt x="1297" y="39"/>
                      </a:lnTo>
                      <a:lnTo>
                        <a:pt x="1348" y="34"/>
                      </a:lnTo>
                      <a:lnTo>
                        <a:pt x="1398" y="30"/>
                      </a:lnTo>
                      <a:lnTo>
                        <a:pt x="1447" y="25"/>
                      </a:lnTo>
                      <a:lnTo>
                        <a:pt x="1495" y="20"/>
                      </a:lnTo>
                      <a:lnTo>
                        <a:pt x="1544" y="15"/>
                      </a:lnTo>
                      <a:lnTo>
                        <a:pt x="1590" y="9"/>
                      </a:lnTo>
                      <a:lnTo>
                        <a:pt x="1638" y="2"/>
                      </a:lnTo>
                      <a:close/>
                    </a:path>
                  </a:pathLst>
                </a:custGeom>
                <a:gradFill>
                  <a:gsLst>
                    <a:gs pos="100000">
                      <a:schemeClr val="bg1">
                        <a:alpha val="45000"/>
                      </a:schemeClr>
                    </a:gs>
                    <a:gs pos="0">
                      <a:schemeClr val="bg1">
                        <a:alpha val="20000"/>
                      </a:schemeClr>
                    </a:gs>
                  </a:gsLst>
                  <a:lin ang="5400000" scaled="1"/>
                </a:gra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  <p:grpSp>
          <p:nvGrpSpPr>
            <p:cNvPr id="14" name="Group 13"/>
            <p:cNvGrpSpPr/>
            <p:nvPr/>
          </p:nvGrpSpPr>
          <p:grpSpPr>
            <a:xfrm flipH="1">
              <a:off x="2127780" y="1561801"/>
              <a:ext cx="1229923" cy="3540185"/>
              <a:chOff x="3000179" y="211125"/>
              <a:chExt cx="1292141" cy="3719266"/>
            </a:xfrm>
          </p:grpSpPr>
          <p:sp>
            <p:nvSpPr>
              <p:cNvPr id="15" name="Freeform 26"/>
              <p:cNvSpPr>
                <a:spLocks/>
              </p:cNvSpPr>
              <p:nvPr/>
            </p:nvSpPr>
            <p:spPr bwMode="auto">
              <a:xfrm>
                <a:off x="3038276" y="211125"/>
                <a:ext cx="1254044" cy="3719266"/>
              </a:xfrm>
              <a:custGeom>
                <a:avLst/>
                <a:gdLst>
                  <a:gd name="T0" fmla="*/ 0 w 4741"/>
                  <a:gd name="T1" fmla="*/ 0 h 14059"/>
                  <a:gd name="T2" fmla="*/ 3656 w 4741"/>
                  <a:gd name="T3" fmla="*/ 0 h 14059"/>
                  <a:gd name="T4" fmla="*/ 3712 w 4741"/>
                  <a:gd name="T5" fmla="*/ 1 h 14059"/>
                  <a:gd name="T6" fmla="*/ 3767 w 4741"/>
                  <a:gd name="T7" fmla="*/ 4 h 14059"/>
                  <a:gd name="T8" fmla="*/ 3820 w 4741"/>
                  <a:gd name="T9" fmla="*/ 12 h 14059"/>
                  <a:gd name="T10" fmla="*/ 3874 w 4741"/>
                  <a:gd name="T11" fmla="*/ 22 h 14059"/>
                  <a:gd name="T12" fmla="*/ 3926 w 4741"/>
                  <a:gd name="T13" fmla="*/ 34 h 14059"/>
                  <a:gd name="T14" fmla="*/ 3978 w 4741"/>
                  <a:gd name="T15" fmla="*/ 49 h 14059"/>
                  <a:gd name="T16" fmla="*/ 4028 w 4741"/>
                  <a:gd name="T17" fmla="*/ 66 h 14059"/>
                  <a:gd name="T18" fmla="*/ 4077 w 4741"/>
                  <a:gd name="T19" fmla="*/ 85 h 14059"/>
                  <a:gd name="T20" fmla="*/ 4125 w 4741"/>
                  <a:gd name="T21" fmla="*/ 107 h 14059"/>
                  <a:gd name="T22" fmla="*/ 4172 w 4741"/>
                  <a:gd name="T23" fmla="*/ 131 h 14059"/>
                  <a:gd name="T24" fmla="*/ 4217 w 4741"/>
                  <a:gd name="T25" fmla="*/ 157 h 14059"/>
                  <a:gd name="T26" fmla="*/ 4262 w 4741"/>
                  <a:gd name="T27" fmla="*/ 186 h 14059"/>
                  <a:gd name="T28" fmla="*/ 4304 w 4741"/>
                  <a:gd name="T29" fmla="*/ 215 h 14059"/>
                  <a:gd name="T30" fmla="*/ 4345 w 4741"/>
                  <a:gd name="T31" fmla="*/ 247 h 14059"/>
                  <a:gd name="T32" fmla="*/ 4385 w 4741"/>
                  <a:gd name="T33" fmla="*/ 281 h 14059"/>
                  <a:gd name="T34" fmla="*/ 4422 w 4741"/>
                  <a:gd name="T35" fmla="*/ 318 h 14059"/>
                  <a:gd name="T36" fmla="*/ 4458 w 4741"/>
                  <a:gd name="T37" fmla="*/ 356 h 14059"/>
                  <a:gd name="T38" fmla="*/ 4492 w 4741"/>
                  <a:gd name="T39" fmla="*/ 395 h 14059"/>
                  <a:gd name="T40" fmla="*/ 4525 w 4741"/>
                  <a:gd name="T41" fmla="*/ 436 h 14059"/>
                  <a:gd name="T42" fmla="*/ 4555 w 4741"/>
                  <a:gd name="T43" fmla="*/ 479 h 14059"/>
                  <a:gd name="T44" fmla="*/ 4583 w 4741"/>
                  <a:gd name="T45" fmla="*/ 523 h 14059"/>
                  <a:gd name="T46" fmla="*/ 4609 w 4741"/>
                  <a:gd name="T47" fmla="*/ 568 h 14059"/>
                  <a:gd name="T48" fmla="*/ 4633 w 4741"/>
                  <a:gd name="T49" fmla="*/ 614 h 14059"/>
                  <a:gd name="T50" fmla="*/ 4655 w 4741"/>
                  <a:gd name="T51" fmla="*/ 662 h 14059"/>
                  <a:gd name="T52" fmla="*/ 4675 w 4741"/>
                  <a:gd name="T53" fmla="*/ 712 h 14059"/>
                  <a:gd name="T54" fmla="*/ 4692 w 4741"/>
                  <a:gd name="T55" fmla="*/ 763 h 14059"/>
                  <a:gd name="T56" fmla="*/ 4706 w 4741"/>
                  <a:gd name="T57" fmla="*/ 814 h 14059"/>
                  <a:gd name="T58" fmla="*/ 4719 w 4741"/>
                  <a:gd name="T59" fmla="*/ 866 h 14059"/>
                  <a:gd name="T60" fmla="*/ 4728 w 4741"/>
                  <a:gd name="T61" fmla="*/ 919 h 14059"/>
                  <a:gd name="T62" fmla="*/ 4735 w 4741"/>
                  <a:gd name="T63" fmla="*/ 973 h 14059"/>
                  <a:gd name="T64" fmla="*/ 4740 w 4741"/>
                  <a:gd name="T65" fmla="*/ 1028 h 14059"/>
                  <a:gd name="T66" fmla="*/ 4741 w 4741"/>
                  <a:gd name="T67" fmla="*/ 1084 h 14059"/>
                  <a:gd name="T68" fmla="*/ 4741 w 4741"/>
                  <a:gd name="T69" fmla="*/ 14059 h 14059"/>
                  <a:gd name="T70" fmla="*/ 0 w 4741"/>
                  <a:gd name="T71" fmla="*/ 0 h 140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4741" h="14059">
                    <a:moveTo>
                      <a:pt x="0" y="0"/>
                    </a:moveTo>
                    <a:lnTo>
                      <a:pt x="3656" y="0"/>
                    </a:lnTo>
                    <a:lnTo>
                      <a:pt x="3712" y="1"/>
                    </a:lnTo>
                    <a:lnTo>
                      <a:pt x="3767" y="4"/>
                    </a:lnTo>
                    <a:lnTo>
                      <a:pt x="3820" y="12"/>
                    </a:lnTo>
                    <a:lnTo>
                      <a:pt x="3874" y="22"/>
                    </a:lnTo>
                    <a:lnTo>
                      <a:pt x="3926" y="34"/>
                    </a:lnTo>
                    <a:lnTo>
                      <a:pt x="3978" y="49"/>
                    </a:lnTo>
                    <a:lnTo>
                      <a:pt x="4028" y="66"/>
                    </a:lnTo>
                    <a:lnTo>
                      <a:pt x="4077" y="85"/>
                    </a:lnTo>
                    <a:lnTo>
                      <a:pt x="4125" y="107"/>
                    </a:lnTo>
                    <a:lnTo>
                      <a:pt x="4172" y="131"/>
                    </a:lnTo>
                    <a:lnTo>
                      <a:pt x="4217" y="157"/>
                    </a:lnTo>
                    <a:lnTo>
                      <a:pt x="4262" y="186"/>
                    </a:lnTo>
                    <a:lnTo>
                      <a:pt x="4304" y="215"/>
                    </a:lnTo>
                    <a:lnTo>
                      <a:pt x="4345" y="247"/>
                    </a:lnTo>
                    <a:lnTo>
                      <a:pt x="4385" y="281"/>
                    </a:lnTo>
                    <a:lnTo>
                      <a:pt x="4422" y="318"/>
                    </a:lnTo>
                    <a:lnTo>
                      <a:pt x="4458" y="356"/>
                    </a:lnTo>
                    <a:lnTo>
                      <a:pt x="4492" y="395"/>
                    </a:lnTo>
                    <a:lnTo>
                      <a:pt x="4525" y="436"/>
                    </a:lnTo>
                    <a:lnTo>
                      <a:pt x="4555" y="479"/>
                    </a:lnTo>
                    <a:lnTo>
                      <a:pt x="4583" y="523"/>
                    </a:lnTo>
                    <a:lnTo>
                      <a:pt x="4609" y="568"/>
                    </a:lnTo>
                    <a:lnTo>
                      <a:pt x="4633" y="614"/>
                    </a:lnTo>
                    <a:lnTo>
                      <a:pt x="4655" y="662"/>
                    </a:lnTo>
                    <a:lnTo>
                      <a:pt x="4675" y="712"/>
                    </a:lnTo>
                    <a:lnTo>
                      <a:pt x="4692" y="763"/>
                    </a:lnTo>
                    <a:lnTo>
                      <a:pt x="4706" y="814"/>
                    </a:lnTo>
                    <a:lnTo>
                      <a:pt x="4719" y="866"/>
                    </a:lnTo>
                    <a:lnTo>
                      <a:pt x="4728" y="919"/>
                    </a:lnTo>
                    <a:lnTo>
                      <a:pt x="4735" y="973"/>
                    </a:lnTo>
                    <a:lnTo>
                      <a:pt x="4740" y="1028"/>
                    </a:lnTo>
                    <a:lnTo>
                      <a:pt x="4741" y="1084"/>
                    </a:lnTo>
                    <a:lnTo>
                      <a:pt x="4741" y="14059"/>
                    </a:lnTo>
                    <a:lnTo>
                      <a:pt x="0" y="0"/>
                    </a:lnTo>
                    <a:close/>
                  </a:path>
                </a:pathLst>
              </a:custGeom>
              <a:gradFill flip="none" rotWithShape="1">
                <a:gsLst>
                  <a:gs pos="65000">
                    <a:schemeClr val="bg1">
                      <a:alpha val="0"/>
                    </a:schemeClr>
                  </a:gs>
                  <a:gs pos="0">
                    <a:schemeClr val="bg1">
                      <a:alpha val="50000"/>
                    </a:schemeClr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27"/>
              <p:cNvSpPr>
                <a:spLocks/>
              </p:cNvSpPr>
              <p:nvPr/>
            </p:nvSpPr>
            <p:spPr bwMode="auto">
              <a:xfrm>
                <a:off x="3000179" y="531778"/>
                <a:ext cx="430185" cy="88894"/>
              </a:xfrm>
              <a:custGeom>
                <a:avLst/>
                <a:gdLst>
                  <a:gd name="T0" fmla="*/ 1456 w 1626"/>
                  <a:gd name="T1" fmla="*/ 0 h 338"/>
                  <a:gd name="T2" fmla="*/ 1490 w 1626"/>
                  <a:gd name="T3" fmla="*/ 3 h 338"/>
                  <a:gd name="T4" fmla="*/ 1522 w 1626"/>
                  <a:gd name="T5" fmla="*/ 12 h 338"/>
                  <a:gd name="T6" fmla="*/ 1550 w 1626"/>
                  <a:gd name="T7" fmla="*/ 28 h 338"/>
                  <a:gd name="T8" fmla="*/ 1576 w 1626"/>
                  <a:gd name="T9" fmla="*/ 49 h 338"/>
                  <a:gd name="T10" fmla="*/ 1597 w 1626"/>
                  <a:gd name="T11" fmla="*/ 74 h 338"/>
                  <a:gd name="T12" fmla="*/ 1612 w 1626"/>
                  <a:gd name="T13" fmla="*/ 104 h 338"/>
                  <a:gd name="T14" fmla="*/ 1622 w 1626"/>
                  <a:gd name="T15" fmla="*/ 135 h 338"/>
                  <a:gd name="T16" fmla="*/ 1626 w 1626"/>
                  <a:gd name="T17" fmla="*/ 169 h 338"/>
                  <a:gd name="T18" fmla="*/ 1625 w 1626"/>
                  <a:gd name="T19" fmla="*/ 187 h 338"/>
                  <a:gd name="T20" fmla="*/ 1618 w 1626"/>
                  <a:gd name="T21" fmla="*/ 220 h 338"/>
                  <a:gd name="T22" fmla="*/ 1605 w 1626"/>
                  <a:gd name="T23" fmla="*/ 249 h 338"/>
                  <a:gd name="T24" fmla="*/ 1587 w 1626"/>
                  <a:gd name="T25" fmla="*/ 277 h 338"/>
                  <a:gd name="T26" fmla="*/ 1564 w 1626"/>
                  <a:gd name="T27" fmla="*/ 300 h 338"/>
                  <a:gd name="T28" fmla="*/ 1537 w 1626"/>
                  <a:gd name="T29" fmla="*/ 318 h 338"/>
                  <a:gd name="T30" fmla="*/ 1506 w 1626"/>
                  <a:gd name="T31" fmla="*/ 330 h 338"/>
                  <a:gd name="T32" fmla="*/ 1474 w 1626"/>
                  <a:gd name="T33" fmla="*/ 337 h 338"/>
                  <a:gd name="T34" fmla="*/ 170 w 1626"/>
                  <a:gd name="T35" fmla="*/ 338 h 338"/>
                  <a:gd name="T36" fmla="*/ 136 w 1626"/>
                  <a:gd name="T37" fmla="*/ 335 h 338"/>
                  <a:gd name="T38" fmla="*/ 104 w 1626"/>
                  <a:gd name="T39" fmla="*/ 325 h 338"/>
                  <a:gd name="T40" fmla="*/ 76 w 1626"/>
                  <a:gd name="T41" fmla="*/ 310 h 338"/>
                  <a:gd name="T42" fmla="*/ 51 w 1626"/>
                  <a:gd name="T43" fmla="*/ 288 h 338"/>
                  <a:gd name="T44" fmla="*/ 30 w 1626"/>
                  <a:gd name="T45" fmla="*/ 263 h 338"/>
                  <a:gd name="T46" fmla="*/ 14 w 1626"/>
                  <a:gd name="T47" fmla="*/ 235 h 338"/>
                  <a:gd name="T48" fmla="*/ 4 w 1626"/>
                  <a:gd name="T49" fmla="*/ 203 h 338"/>
                  <a:gd name="T50" fmla="*/ 0 w 1626"/>
                  <a:gd name="T51" fmla="*/ 169 h 338"/>
                  <a:gd name="T52" fmla="*/ 1 w 1626"/>
                  <a:gd name="T53" fmla="*/ 151 h 338"/>
                  <a:gd name="T54" fmla="*/ 8 w 1626"/>
                  <a:gd name="T55" fmla="*/ 118 h 338"/>
                  <a:gd name="T56" fmla="*/ 21 w 1626"/>
                  <a:gd name="T57" fmla="*/ 89 h 338"/>
                  <a:gd name="T58" fmla="*/ 39 w 1626"/>
                  <a:gd name="T59" fmla="*/ 61 h 338"/>
                  <a:gd name="T60" fmla="*/ 62 w 1626"/>
                  <a:gd name="T61" fmla="*/ 39 h 338"/>
                  <a:gd name="T62" fmla="*/ 89 w 1626"/>
                  <a:gd name="T63" fmla="*/ 20 h 338"/>
                  <a:gd name="T64" fmla="*/ 120 w 1626"/>
                  <a:gd name="T65" fmla="*/ 7 h 338"/>
                  <a:gd name="T66" fmla="*/ 153 w 1626"/>
                  <a:gd name="T67" fmla="*/ 1 h 3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626" h="338">
                    <a:moveTo>
                      <a:pt x="170" y="0"/>
                    </a:moveTo>
                    <a:lnTo>
                      <a:pt x="1456" y="0"/>
                    </a:lnTo>
                    <a:lnTo>
                      <a:pt x="1474" y="1"/>
                    </a:lnTo>
                    <a:lnTo>
                      <a:pt x="1490" y="3"/>
                    </a:lnTo>
                    <a:lnTo>
                      <a:pt x="1506" y="7"/>
                    </a:lnTo>
                    <a:lnTo>
                      <a:pt x="1522" y="12"/>
                    </a:lnTo>
                    <a:lnTo>
                      <a:pt x="1537" y="20"/>
                    </a:lnTo>
                    <a:lnTo>
                      <a:pt x="1550" y="28"/>
                    </a:lnTo>
                    <a:lnTo>
                      <a:pt x="1564" y="39"/>
                    </a:lnTo>
                    <a:lnTo>
                      <a:pt x="1576" y="49"/>
                    </a:lnTo>
                    <a:lnTo>
                      <a:pt x="1587" y="61"/>
                    </a:lnTo>
                    <a:lnTo>
                      <a:pt x="1597" y="74"/>
                    </a:lnTo>
                    <a:lnTo>
                      <a:pt x="1605" y="89"/>
                    </a:lnTo>
                    <a:lnTo>
                      <a:pt x="1612" y="104"/>
                    </a:lnTo>
                    <a:lnTo>
                      <a:pt x="1618" y="118"/>
                    </a:lnTo>
                    <a:lnTo>
                      <a:pt x="1622" y="135"/>
                    </a:lnTo>
                    <a:lnTo>
                      <a:pt x="1625" y="151"/>
                    </a:lnTo>
                    <a:lnTo>
                      <a:pt x="1626" y="169"/>
                    </a:lnTo>
                    <a:lnTo>
                      <a:pt x="1626" y="169"/>
                    </a:lnTo>
                    <a:lnTo>
                      <a:pt x="1625" y="187"/>
                    </a:lnTo>
                    <a:lnTo>
                      <a:pt x="1622" y="203"/>
                    </a:lnTo>
                    <a:lnTo>
                      <a:pt x="1618" y="220"/>
                    </a:lnTo>
                    <a:lnTo>
                      <a:pt x="1612" y="235"/>
                    </a:lnTo>
                    <a:lnTo>
                      <a:pt x="1605" y="249"/>
                    </a:lnTo>
                    <a:lnTo>
                      <a:pt x="1597" y="263"/>
                    </a:lnTo>
                    <a:lnTo>
                      <a:pt x="1587" y="277"/>
                    </a:lnTo>
                    <a:lnTo>
                      <a:pt x="1576" y="288"/>
                    </a:lnTo>
                    <a:lnTo>
                      <a:pt x="1564" y="300"/>
                    </a:lnTo>
                    <a:lnTo>
                      <a:pt x="1550" y="310"/>
                    </a:lnTo>
                    <a:lnTo>
                      <a:pt x="1537" y="318"/>
                    </a:lnTo>
                    <a:lnTo>
                      <a:pt x="1522" y="325"/>
                    </a:lnTo>
                    <a:lnTo>
                      <a:pt x="1506" y="330"/>
                    </a:lnTo>
                    <a:lnTo>
                      <a:pt x="1490" y="335"/>
                    </a:lnTo>
                    <a:lnTo>
                      <a:pt x="1474" y="337"/>
                    </a:lnTo>
                    <a:lnTo>
                      <a:pt x="1456" y="338"/>
                    </a:lnTo>
                    <a:lnTo>
                      <a:pt x="170" y="338"/>
                    </a:lnTo>
                    <a:lnTo>
                      <a:pt x="153" y="337"/>
                    </a:lnTo>
                    <a:lnTo>
                      <a:pt x="136" y="335"/>
                    </a:lnTo>
                    <a:lnTo>
                      <a:pt x="120" y="330"/>
                    </a:lnTo>
                    <a:lnTo>
                      <a:pt x="104" y="325"/>
                    </a:lnTo>
                    <a:lnTo>
                      <a:pt x="89" y="318"/>
                    </a:lnTo>
                    <a:lnTo>
                      <a:pt x="76" y="310"/>
                    </a:lnTo>
                    <a:lnTo>
                      <a:pt x="62" y="300"/>
                    </a:lnTo>
                    <a:lnTo>
                      <a:pt x="51" y="288"/>
                    </a:lnTo>
                    <a:lnTo>
                      <a:pt x="39" y="277"/>
                    </a:lnTo>
                    <a:lnTo>
                      <a:pt x="30" y="263"/>
                    </a:lnTo>
                    <a:lnTo>
                      <a:pt x="21" y="249"/>
                    </a:lnTo>
                    <a:lnTo>
                      <a:pt x="14" y="235"/>
                    </a:lnTo>
                    <a:lnTo>
                      <a:pt x="8" y="220"/>
                    </a:lnTo>
                    <a:lnTo>
                      <a:pt x="4" y="203"/>
                    </a:lnTo>
                    <a:lnTo>
                      <a:pt x="1" y="187"/>
                    </a:lnTo>
                    <a:lnTo>
                      <a:pt x="0" y="169"/>
                    </a:lnTo>
                    <a:lnTo>
                      <a:pt x="0" y="169"/>
                    </a:lnTo>
                    <a:lnTo>
                      <a:pt x="1" y="151"/>
                    </a:lnTo>
                    <a:lnTo>
                      <a:pt x="4" y="135"/>
                    </a:lnTo>
                    <a:lnTo>
                      <a:pt x="8" y="118"/>
                    </a:lnTo>
                    <a:lnTo>
                      <a:pt x="14" y="104"/>
                    </a:lnTo>
                    <a:lnTo>
                      <a:pt x="21" y="89"/>
                    </a:lnTo>
                    <a:lnTo>
                      <a:pt x="30" y="74"/>
                    </a:lnTo>
                    <a:lnTo>
                      <a:pt x="39" y="61"/>
                    </a:lnTo>
                    <a:lnTo>
                      <a:pt x="51" y="49"/>
                    </a:lnTo>
                    <a:lnTo>
                      <a:pt x="62" y="39"/>
                    </a:lnTo>
                    <a:lnTo>
                      <a:pt x="76" y="28"/>
                    </a:lnTo>
                    <a:lnTo>
                      <a:pt x="89" y="20"/>
                    </a:lnTo>
                    <a:lnTo>
                      <a:pt x="104" y="12"/>
                    </a:lnTo>
                    <a:lnTo>
                      <a:pt x="120" y="7"/>
                    </a:lnTo>
                    <a:lnTo>
                      <a:pt x="136" y="3"/>
                    </a:lnTo>
                    <a:lnTo>
                      <a:pt x="153" y="1"/>
                    </a:lnTo>
                    <a:lnTo>
                      <a:pt x="170" y="0"/>
                    </a:lnTo>
                    <a:close/>
                  </a:path>
                </a:pathLst>
              </a:custGeom>
              <a:gradFill flip="none" rotWithShape="1">
                <a:gsLst>
                  <a:gs pos="100000">
                    <a:srgbClr val="060606"/>
                  </a:gs>
                  <a:gs pos="62000">
                    <a:srgbClr val="3C3C3C"/>
                  </a:gs>
                  <a:gs pos="45000">
                    <a:schemeClr val="tx1">
                      <a:lumMod val="75000"/>
                      <a:lumOff val="25000"/>
                    </a:schemeClr>
                  </a:gs>
                  <a:gs pos="0">
                    <a:schemeClr val="tx1"/>
                  </a:gs>
                </a:gsLst>
                <a:lin ang="5400000" scaled="1"/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7" name="Freeform 28"/>
              <p:cNvSpPr>
                <a:spLocks/>
              </p:cNvSpPr>
              <p:nvPr/>
            </p:nvSpPr>
            <p:spPr bwMode="auto">
              <a:xfrm>
                <a:off x="3025576" y="546063"/>
                <a:ext cx="379388" cy="52385"/>
              </a:xfrm>
              <a:custGeom>
                <a:avLst/>
                <a:gdLst>
                  <a:gd name="T0" fmla="*/ 1360 w 1434"/>
                  <a:gd name="T1" fmla="*/ 0 h 200"/>
                  <a:gd name="T2" fmla="*/ 1375 w 1434"/>
                  <a:gd name="T3" fmla="*/ 3 h 200"/>
                  <a:gd name="T4" fmla="*/ 1388 w 1434"/>
                  <a:gd name="T5" fmla="*/ 6 h 200"/>
                  <a:gd name="T6" fmla="*/ 1401 w 1434"/>
                  <a:gd name="T7" fmla="*/ 13 h 200"/>
                  <a:gd name="T8" fmla="*/ 1412 w 1434"/>
                  <a:gd name="T9" fmla="*/ 22 h 200"/>
                  <a:gd name="T10" fmla="*/ 1421 w 1434"/>
                  <a:gd name="T11" fmla="*/ 33 h 200"/>
                  <a:gd name="T12" fmla="*/ 1428 w 1434"/>
                  <a:gd name="T13" fmla="*/ 46 h 200"/>
                  <a:gd name="T14" fmla="*/ 1433 w 1434"/>
                  <a:gd name="T15" fmla="*/ 60 h 200"/>
                  <a:gd name="T16" fmla="*/ 1434 w 1434"/>
                  <a:gd name="T17" fmla="*/ 75 h 200"/>
                  <a:gd name="T18" fmla="*/ 1434 w 1434"/>
                  <a:gd name="T19" fmla="*/ 134 h 200"/>
                  <a:gd name="T20" fmla="*/ 1430 w 1434"/>
                  <a:gd name="T21" fmla="*/ 147 h 200"/>
                  <a:gd name="T22" fmla="*/ 1425 w 1434"/>
                  <a:gd name="T23" fmla="*/ 161 h 200"/>
                  <a:gd name="T24" fmla="*/ 1417 w 1434"/>
                  <a:gd name="T25" fmla="*/ 172 h 200"/>
                  <a:gd name="T26" fmla="*/ 1407 w 1434"/>
                  <a:gd name="T27" fmla="*/ 183 h 200"/>
                  <a:gd name="T28" fmla="*/ 1395 w 1434"/>
                  <a:gd name="T29" fmla="*/ 191 h 200"/>
                  <a:gd name="T30" fmla="*/ 1381 w 1434"/>
                  <a:gd name="T31" fmla="*/ 196 h 200"/>
                  <a:gd name="T32" fmla="*/ 1367 w 1434"/>
                  <a:gd name="T33" fmla="*/ 200 h 200"/>
                  <a:gd name="T34" fmla="*/ 75 w 1434"/>
                  <a:gd name="T35" fmla="*/ 200 h 200"/>
                  <a:gd name="T36" fmla="*/ 59 w 1434"/>
                  <a:gd name="T37" fmla="*/ 199 h 200"/>
                  <a:gd name="T38" fmla="*/ 46 w 1434"/>
                  <a:gd name="T39" fmla="*/ 194 h 200"/>
                  <a:gd name="T40" fmla="*/ 33 w 1434"/>
                  <a:gd name="T41" fmla="*/ 187 h 200"/>
                  <a:gd name="T42" fmla="*/ 22 w 1434"/>
                  <a:gd name="T43" fmla="*/ 178 h 200"/>
                  <a:gd name="T44" fmla="*/ 13 w 1434"/>
                  <a:gd name="T45" fmla="*/ 167 h 200"/>
                  <a:gd name="T46" fmla="*/ 6 w 1434"/>
                  <a:gd name="T47" fmla="*/ 154 h 200"/>
                  <a:gd name="T48" fmla="*/ 2 w 1434"/>
                  <a:gd name="T49" fmla="*/ 140 h 200"/>
                  <a:gd name="T50" fmla="*/ 0 w 1434"/>
                  <a:gd name="T51" fmla="*/ 126 h 200"/>
                  <a:gd name="T52" fmla="*/ 1 w 1434"/>
                  <a:gd name="T53" fmla="*/ 68 h 200"/>
                  <a:gd name="T54" fmla="*/ 4 w 1434"/>
                  <a:gd name="T55" fmla="*/ 53 h 200"/>
                  <a:gd name="T56" fmla="*/ 9 w 1434"/>
                  <a:gd name="T57" fmla="*/ 39 h 200"/>
                  <a:gd name="T58" fmla="*/ 17 w 1434"/>
                  <a:gd name="T59" fmla="*/ 28 h 200"/>
                  <a:gd name="T60" fmla="*/ 28 w 1434"/>
                  <a:gd name="T61" fmla="*/ 17 h 200"/>
                  <a:gd name="T62" fmla="*/ 40 w 1434"/>
                  <a:gd name="T63" fmla="*/ 9 h 200"/>
                  <a:gd name="T64" fmla="*/ 53 w 1434"/>
                  <a:gd name="T65" fmla="*/ 4 h 200"/>
                  <a:gd name="T66" fmla="*/ 67 w 1434"/>
                  <a:gd name="T67" fmla="*/ 1 h 2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434" h="200">
                    <a:moveTo>
                      <a:pt x="75" y="0"/>
                    </a:moveTo>
                    <a:lnTo>
                      <a:pt x="1360" y="0"/>
                    </a:lnTo>
                    <a:lnTo>
                      <a:pt x="1367" y="1"/>
                    </a:lnTo>
                    <a:lnTo>
                      <a:pt x="1375" y="3"/>
                    </a:lnTo>
                    <a:lnTo>
                      <a:pt x="1381" y="4"/>
                    </a:lnTo>
                    <a:lnTo>
                      <a:pt x="1388" y="6"/>
                    </a:lnTo>
                    <a:lnTo>
                      <a:pt x="1395" y="9"/>
                    </a:lnTo>
                    <a:lnTo>
                      <a:pt x="1401" y="13"/>
                    </a:lnTo>
                    <a:lnTo>
                      <a:pt x="1407" y="17"/>
                    </a:lnTo>
                    <a:lnTo>
                      <a:pt x="1412" y="22"/>
                    </a:lnTo>
                    <a:lnTo>
                      <a:pt x="1417" y="28"/>
                    </a:lnTo>
                    <a:lnTo>
                      <a:pt x="1421" y="33"/>
                    </a:lnTo>
                    <a:lnTo>
                      <a:pt x="1425" y="39"/>
                    </a:lnTo>
                    <a:lnTo>
                      <a:pt x="1428" y="46"/>
                    </a:lnTo>
                    <a:lnTo>
                      <a:pt x="1430" y="53"/>
                    </a:lnTo>
                    <a:lnTo>
                      <a:pt x="1433" y="60"/>
                    </a:lnTo>
                    <a:lnTo>
                      <a:pt x="1434" y="68"/>
                    </a:lnTo>
                    <a:lnTo>
                      <a:pt x="1434" y="75"/>
                    </a:lnTo>
                    <a:lnTo>
                      <a:pt x="1434" y="126"/>
                    </a:lnTo>
                    <a:lnTo>
                      <a:pt x="1434" y="134"/>
                    </a:lnTo>
                    <a:lnTo>
                      <a:pt x="1433" y="140"/>
                    </a:lnTo>
                    <a:lnTo>
                      <a:pt x="1430" y="147"/>
                    </a:lnTo>
                    <a:lnTo>
                      <a:pt x="1428" y="154"/>
                    </a:lnTo>
                    <a:lnTo>
                      <a:pt x="1425" y="161"/>
                    </a:lnTo>
                    <a:lnTo>
                      <a:pt x="1421" y="167"/>
                    </a:lnTo>
                    <a:lnTo>
                      <a:pt x="1417" y="172"/>
                    </a:lnTo>
                    <a:lnTo>
                      <a:pt x="1412" y="178"/>
                    </a:lnTo>
                    <a:lnTo>
                      <a:pt x="1407" y="183"/>
                    </a:lnTo>
                    <a:lnTo>
                      <a:pt x="1401" y="187"/>
                    </a:lnTo>
                    <a:lnTo>
                      <a:pt x="1395" y="191"/>
                    </a:lnTo>
                    <a:lnTo>
                      <a:pt x="1388" y="194"/>
                    </a:lnTo>
                    <a:lnTo>
                      <a:pt x="1381" y="196"/>
                    </a:lnTo>
                    <a:lnTo>
                      <a:pt x="1375" y="199"/>
                    </a:lnTo>
                    <a:lnTo>
                      <a:pt x="1367" y="200"/>
                    </a:lnTo>
                    <a:lnTo>
                      <a:pt x="1360" y="200"/>
                    </a:lnTo>
                    <a:lnTo>
                      <a:pt x="75" y="200"/>
                    </a:lnTo>
                    <a:lnTo>
                      <a:pt x="67" y="200"/>
                    </a:lnTo>
                    <a:lnTo>
                      <a:pt x="59" y="199"/>
                    </a:lnTo>
                    <a:lnTo>
                      <a:pt x="53" y="196"/>
                    </a:lnTo>
                    <a:lnTo>
                      <a:pt x="46" y="194"/>
                    </a:lnTo>
                    <a:lnTo>
                      <a:pt x="40" y="191"/>
                    </a:lnTo>
                    <a:lnTo>
                      <a:pt x="33" y="187"/>
                    </a:lnTo>
                    <a:lnTo>
                      <a:pt x="28" y="183"/>
                    </a:lnTo>
                    <a:lnTo>
                      <a:pt x="22" y="178"/>
                    </a:lnTo>
                    <a:lnTo>
                      <a:pt x="17" y="172"/>
                    </a:lnTo>
                    <a:lnTo>
                      <a:pt x="13" y="167"/>
                    </a:lnTo>
                    <a:lnTo>
                      <a:pt x="9" y="161"/>
                    </a:lnTo>
                    <a:lnTo>
                      <a:pt x="6" y="154"/>
                    </a:lnTo>
                    <a:lnTo>
                      <a:pt x="4" y="147"/>
                    </a:lnTo>
                    <a:lnTo>
                      <a:pt x="2" y="140"/>
                    </a:lnTo>
                    <a:lnTo>
                      <a:pt x="1" y="134"/>
                    </a:lnTo>
                    <a:lnTo>
                      <a:pt x="0" y="126"/>
                    </a:lnTo>
                    <a:lnTo>
                      <a:pt x="0" y="75"/>
                    </a:lnTo>
                    <a:lnTo>
                      <a:pt x="1" y="68"/>
                    </a:lnTo>
                    <a:lnTo>
                      <a:pt x="2" y="60"/>
                    </a:lnTo>
                    <a:lnTo>
                      <a:pt x="4" y="53"/>
                    </a:lnTo>
                    <a:lnTo>
                      <a:pt x="6" y="46"/>
                    </a:lnTo>
                    <a:lnTo>
                      <a:pt x="9" y="39"/>
                    </a:lnTo>
                    <a:lnTo>
                      <a:pt x="13" y="33"/>
                    </a:lnTo>
                    <a:lnTo>
                      <a:pt x="17" y="28"/>
                    </a:lnTo>
                    <a:lnTo>
                      <a:pt x="22" y="22"/>
                    </a:lnTo>
                    <a:lnTo>
                      <a:pt x="28" y="17"/>
                    </a:lnTo>
                    <a:lnTo>
                      <a:pt x="33" y="13"/>
                    </a:lnTo>
                    <a:lnTo>
                      <a:pt x="40" y="9"/>
                    </a:lnTo>
                    <a:lnTo>
                      <a:pt x="46" y="6"/>
                    </a:lnTo>
                    <a:lnTo>
                      <a:pt x="53" y="4"/>
                    </a:lnTo>
                    <a:lnTo>
                      <a:pt x="59" y="3"/>
                    </a:lnTo>
                    <a:lnTo>
                      <a:pt x="67" y="1"/>
                    </a:lnTo>
                    <a:lnTo>
                      <a:pt x="75" y="0"/>
                    </a:lnTo>
                    <a:close/>
                  </a:path>
                </a:pathLst>
              </a:custGeom>
              <a:pattFill prst="pct60">
                <a:fgClr>
                  <a:schemeClr val="tx1">
                    <a:lumMod val="65000"/>
                    <a:lumOff val="35000"/>
                  </a:schemeClr>
                </a:fgClr>
                <a:bgClr>
                  <a:schemeClr val="tx1">
                    <a:lumMod val="85000"/>
                    <a:lumOff val="15000"/>
                  </a:schemeClr>
                </a:bgClr>
              </a:patt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8" name="Freeform 29"/>
              <p:cNvSpPr>
                <a:spLocks/>
              </p:cNvSpPr>
              <p:nvPr/>
            </p:nvSpPr>
            <p:spPr bwMode="auto">
              <a:xfrm>
                <a:off x="3173201" y="353990"/>
                <a:ext cx="92069" cy="90482"/>
              </a:xfrm>
              <a:custGeom>
                <a:avLst/>
                <a:gdLst>
                  <a:gd name="T0" fmla="*/ 189 w 345"/>
                  <a:gd name="T1" fmla="*/ 1 h 344"/>
                  <a:gd name="T2" fmla="*/ 224 w 345"/>
                  <a:gd name="T3" fmla="*/ 8 h 344"/>
                  <a:gd name="T4" fmla="*/ 254 w 345"/>
                  <a:gd name="T5" fmla="*/ 21 h 344"/>
                  <a:gd name="T6" fmla="*/ 282 w 345"/>
                  <a:gd name="T7" fmla="*/ 39 h 344"/>
                  <a:gd name="T8" fmla="*/ 305 w 345"/>
                  <a:gd name="T9" fmla="*/ 63 h 344"/>
                  <a:gd name="T10" fmla="*/ 324 w 345"/>
                  <a:gd name="T11" fmla="*/ 90 h 344"/>
                  <a:gd name="T12" fmla="*/ 337 w 345"/>
                  <a:gd name="T13" fmla="*/ 121 h 344"/>
                  <a:gd name="T14" fmla="*/ 343 w 345"/>
                  <a:gd name="T15" fmla="*/ 154 h 344"/>
                  <a:gd name="T16" fmla="*/ 343 w 345"/>
                  <a:gd name="T17" fmla="*/ 189 h 344"/>
                  <a:gd name="T18" fmla="*/ 337 w 345"/>
                  <a:gd name="T19" fmla="*/ 224 h 344"/>
                  <a:gd name="T20" fmla="*/ 324 w 345"/>
                  <a:gd name="T21" fmla="*/ 254 h 344"/>
                  <a:gd name="T22" fmla="*/ 305 w 345"/>
                  <a:gd name="T23" fmla="*/ 282 h 344"/>
                  <a:gd name="T24" fmla="*/ 282 w 345"/>
                  <a:gd name="T25" fmla="*/ 304 h 344"/>
                  <a:gd name="T26" fmla="*/ 254 w 345"/>
                  <a:gd name="T27" fmla="*/ 324 h 344"/>
                  <a:gd name="T28" fmla="*/ 224 w 345"/>
                  <a:gd name="T29" fmla="*/ 336 h 344"/>
                  <a:gd name="T30" fmla="*/ 189 w 345"/>
                  <a:gd name="T31" fmla="*/ 343 h 344"/>
                  <a:gd name="T32" fmla="*/ 155 w 345"/>
                  <a:gd name="T33" fmla="*/ 343 h 344"/>
                  <a:gd name="T34" fmla="*/ 121 w 345"/>
                  <a:gd name="T35" fmla="*/ 336 h 344"/>
                  <a:gd name="T36" fmla="*/ 90 w 345"/>
                  <a:gd name="T37" fmla="*/ 324 h 344"/>
                  <a:gd name="T38" fmla="*/ 63 w 345"/>
                  <a:gd name="T39" fmla="*/ 304 h 344"/>
                  <a:gd name="T40" fmla="*/ 39 w 345"/>
                  <a:gd name="T41" fmla="*/ 282 h 344"/>
                  <a:gd name="T42" fmla="*/ 21 w 345"/>
                  <a:gd name="T43" fmla="*/ 254 h 344"/>
                  <a:gd name="T44" fmla="*/ 8 w 345"/>
                  <a:gd name="T45" fmla="*/ 224 h 344"/>
                  <a:gd name="T46" fmla="*/ 1 w 345"/>
                  <a:gd name="T47" fmla="*/ 189 h 344"/>
                  <a:gd name="T48" fmla="*/ 1 w 345"/>
                  <a:gd name="T49" fmla="*/ 154 h 344"/>
                  <a:gd name="T50" fmla="*/ 8 w 345"/>
                  <a:gd name="T51" fmla="*/ 121 h 344"/>
                  <a:gd name="T52" fmla="*/ 21 w 345"/>
                  <a:gd name="T53" fmla="*/ 90 h 344"/>
                  <a:gd name="T54" fmla="*/ 39 w 345"/>
                  <a:gd name="T55" fmla="*/ 63 h 344"/>
                  <a:gd name="T56" fmla="*/ 63 w 345"/>
                  <a:gd name="T57" fmla="*/ 39 h 344"/>
                  <a:gd name="T58" fmla="*/ 90 w 345"/>
                  <a:gd name="T59" fmla="*/ 21 h 344"/>
                  <a:gd name="T60" fmla="*/ 121 w 345"/>
                  <a:gd name="T61" fmla="*/ 8 h 344"/>
                  <a:gd name="T62" fmla="*/ 155 w 345"/>
                  <a:gd name="T63" fmla="*/ 1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345" h="344">
                    <a:moveTo>
                      <a:pt x="172" y="0"/>
                    </a:moveTo>
                    <a:lnTo>
                      <a:pt x="189" y="1"/>
                    </a:lnTo>
                    <a:lnTo>
                      <a:pt x="207" y="3"/>
                    </a:lnTo>
                    <a:lnTo>
                      <a:pt x="224" y="8"/>
                    </a:lnTo>
                    <a:lnTo>
                      <a:pt x="240" y="14"/>
                    </a:lnTo>
                    <a:lnTo>
                      <a:pt x="254" y="21"/>
                    </a:lnTo>
                    <a:lnTo>
                      <a:pt x="268" y="30"/>
                    </a:lnTo>
                    <a:lnTo>
                      <a:pt x="282" y="39"/>
                    </a:lnTo>
                    <a:lnTo>
                      <a:pt x="294" y="50"/>
                    </a:lnTo>
                    <a:lnTo>
                      <a:pt x="305" y="63"/>
                    </a:lnTo>
                    <a:lnTo>
                      <a:pt x="315" y="75"/>
                    </a:lnTo>
                    <a:lnTo>
                      <a:pt x="324" y="90"/>
                    </a:lnTo>
                    <a:lnTo>
                      <a:pt x="331" y="105"/>
                    </a:lnTo>
                    <a:lnTo>
                      <a:pt x="337" y="121"/>
                    </a:lnTo>
                    <a:lnTo>
                      <a:pt x="341" y="137"/>
                    </a:lnTo>
                    <a:lnTo>
                      <a:pt x="343" y="154"/>
                    </a:lnTo>
                    <a:lnTo>
                      <a:pt x="345" y="172"/>
                    </a:lnTo>
                    <a:lnTo>
                      <a:pt x="343" y="189"/>
                    </a:lnTo>
                    <a:lnTo>
                      <a:pt x="341" y="206"/>
                    </a:lnTo>
                    <a:lnTo>
                      <a:pt x="337" y="224"/>
                    </a:lnTo>
                    <a:lnTo>
                      <a:pt x="331" y="239"/>
                    </a:lnTo>
                    <a:lnTo>
                      <a:pt x="324" y="254"/>
                    </a:lnTo>
                    <a:lnTo>
                      <a:pt x="315" y="268"/>
                    </a:lnTo>
                    <a:lnTo>
                      <a:pt x="305" y="282"/>
                    </a:lnTo>
                    <a:lnTo>
                      <a:pt x="294" y="294"/>
                    </a:lnTo>
                    <a:lnTo>
                      <a:pt x="282" y="304"/>
                    </a:lnTo>
                    <a:lnTo>
                      <a:pt x="268" y="315"/>
                    </a:lnTo>
                    <a:lnTo>
                      <a:pt x="254" y="324"/>
                    </a:lnTo>
                    <a:lnTo>
                      <a:pt x="240" y="331"/>
                    </a:lnTo>
                    <a:lnTo>
                      <a:pt x="224" y="336"/>
                    </a:lnTo>
                    <a:lnTo>
                      <a:pt x="207" y="341"/>
                    </a:lnTo>
                    <a:lnTo>
                      <a:pt x="189" y="343"/>
                    </a:lnTo>
                    <a:lnTo>
                      <a:pt x="172" y="344"/>
                    </a:lnTo>
                    <a:lnTo>
                      <a:pt x="155" y="343"/>
                    </a:lnTo>
                    <a:lnTo>
                      <a:pt x="138" y="341"/>
                    </a:lnTo>
                    <a:lnTo>
                      <a:pt x="121" y="336"/>
                    </a:lnTo>
                    <a:lnTo>
                      <a:pt x="105" y="331"/>
                    </a:lnTo>
                    <a:lnTo>
                      <a:pt x="90" y="324"/>
                    </a:lnTo>
                    <a:lnTo>
                      <a:pt x="76" y="315"/>
                    </a:lnTo>
                    <a:lnTo>
                      <a:pt x="63" y="304"/>
                    </a:lnTo>
                    <a:lnTo>
                      <a:pt x="50" y="294"/>
                    </a:lnTo>
                    <a:lnTo>
                      <a:pt x="39" y="282"/>
                    </a:lnTo>
                    <a:lnTo>
                      <a:pt x="30" y="268"/>
                    </a:lnTo>
                    <a:lnTo>
                      <a:pt x="21" y="254"/>
                    </a:lnTo>
                    <a:lnTo>
                      <a:pt x="14" y="239"/>
                    </a:lnTo>
                    <a:lnTo>
                      <a:pt x="8" y="224"/>
                    </a:lnTo>
                    <a:lnTo>
                      <a:pt x="3" y="206"/>
                    </a:lnTo>
                    <a:lnTo>
                      <a:pt x="1" y="189"/>
                    </a:lnTo>
                    <a:lnTo>
                      <a:pt x="0" y="172"/>
                    </a:lnTo>
                    <a:lnTo>
                      <a:pt x="1" y="154"/>
                    </a:lnTo>
                    <a:lnTo>
                      <a:pt x="3" y="137"/>
                    </a:lnTo>
                    <a:lnTo>
                      <a:pt x="8" y="121"/>
                    </a:lnTo>
                    <a:lnTo>
                      <a:pt x="14" y="105"/>
                    </a:lnTo>
                    <a:lnTo>
                      <a:pt x="21" y="90"/>
                    </a:lnTo>
                    <a:lnTo>
                      <a:pt x="30" y="75"/>
                    </a:lnTo>
                    <a:lnTo>
                      <a:pt x="39" y="63"/>
                    </a:lnTo>
                    <a:lnTo>
                      <a:pt x="50" y="50"/>
                    </a:lnTo>
                    <a:lnTo>
                      <a:pt x="63" y="39"/>
                    </a:lnTo>
                    <a:lnTo>
                      <a:pt x="76" y="30"/>
                    </a:lnTo>
                    <a:lnTo>
                      <a:pt x="90" y="21"/>
                    </a:lnTo>
                    <a:lnTo>
                      <a:pt x="105" y="14"/>
                    </a:lnTo>
                    <a:lnTo>
                      <a:pt x="121" y="8"/>
                    </a:lnTo>
                    <a:lnTo>
                      <a:pt x="138" y="3"/>
                    </a:lnTo>
                    <a:lnTo>
                      <a:pt x="155" y="1"/>
                    </a:lnTo>
                    <a:lnTo>
                      <a:pt x="172" y="0"/>
                    </a:lnTo>
                    <a:close/>
                  </a:path>
                </a:pathLst>
              </a:custGeom>
              <a:gradFill flip="none" rotWithShape="1">
                <a:gsLst>
                  <a:gs pos="65000">
                    <a:schemeClr val="tx1">
                      <a:lumMod val="75000"/>
                      <a:lumOff val="25000"/>
                    </a:schemeClr>
                  </a:gs>
                  <a:gs pos="0">
                    <a:schemeClr val="tx1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9" name="Freeform 30"/>
              <p:cNvSpPr>
                <a:spLocks/>
              </p:cNvSpPr>
              <p:nvPr/>
            </p:nvSpPr>
            <p:spPr bwMode="auto">
              <a:xfrm>
                <a:off x="3197034" y="376211"/>
                <a:ext cx="44447" cy="44447"/>
              </a:xfrm>
              <a:custGeom>
                <a:avLst/>
                <a:gdLst>
                  <a:gd name="T0" fmla="*/ 93 w 169"/>
                  <a:gd name="T1" fmla="*/ 0 h 169"/>
                  <a:gd name="T2" fmla="*/ 109 w 169"/>
                  <a:gd name="T3" fmla="*/ 3 h 169"/>
                  <a:gd name="T4" fmla="*/ 124 w 169"/>
                  <a:gd name="T5" fmla="*/ 10 h 169"/>
                  <a:gd name="T6" fmla="*/ 138 w 169"/>
                  <a:gd name="T7" fmla="*/ 19 h 169"/>
                  <a:gd name="T8" fmla="*/ 149 w 169"/>
                  <a:gd name="T9" fmla="*/ 31 h 169"/>
                  <a:gd name="T10" fmla="*/ 158 w 169"/>
                  <a:gd name="T11" fmla="*/ 43 h 169"/>
                  <a:gd name="T12" fmla="*/ 165 w 169"/>
                  <a:gd name="T13" fmla="*/ 59 h 169"/>
                  <a:gd name="T14" fmla="*/ 169 w 169"/>
                  <a:gd name="T15" fmla="*/ 75 h 169"/>
                  <a:gd name="T16" fmla="*/ 169 w 169"/>
                  <a:gd name="T17" fmla="*/ 92 h 169"/>
                  <a:gd name="T18" fmla="*/ 165 w 169"/>
                  <a:gd name="T19" fmla="*/ 109 h 169"/>
                  <a:gd name="T20" fmla="*/ 158 w 169"/>
                  <a:gd name="T21" fmla="*/ 124 h 169"/>
                  <a:gd name="T22" fmla="*/ 149 w 169"/>
                  <a:gd name="T23" fmla="*/ 138 h 169"/>
                  <a:gd name="T24" fmla="*/ 138 w 169"/>
                  <a:gd name="T25" fmla="*/ 149 h 169"/>
                  <a:gd name="T26" fmla="*/ 124 w 169"/>
                  <a:gd name="T27" fmla="*/ 158 h 169"/>
                  <a:gd name="T28" fmla="*/ 109 w 169"/>
                  <a:gd name="T29" fmla="*/ 165 h 169"/>
                  <a:gd name="T30" fmla="*/ 93 w 169"/>
                  <a:gd name="T31" fmla="*/ 169 h 169"/>
                  <a:gd name="T32" fmla="*/ 75 w 169"/>
                  <a:gd name="T33" fmla="*/ 169 h 169"/>
                  <a:gd name="T34" fmla="*/ 59 w 169"/>
                  <a:gd name="T35" fmla="*/ 165 h 169"/>
                  <a:gd name="T36" fmla="*/ 44 w 169"/>
                  <a:gd name="T37" fmla="*/ 158 h 169"/>
                  <a:gd name="T38" fmla="*/ 31 w 169"/>
                  <a:gd name="T39" fmla="*/ 149 h 169"/>
                  <a:gd name="T40" fmla="*/ 19 w 169"/>
                  <a:gd name="T41" fmla="*/ 138 h 169"/>
                  <a:gd name="T42" fmla="*/ 10 w 169"/>
                  <a:gd name="T43" fmla="*/ 124 h 169"/>
                  <a:gd name="T44" fmla="*/ 3 w 169"/>
                  <a:gd name="T45" fmla="*/ 109 h 169"/>
                  <a:gd name="T46" fmla="*/ 0 w 169"/>
                  <a:gd name="T47" fmla="*/ 92 h 169"/>
                  <a:gd name="T48" fmla="*/ 0 w 169"/>
                  <a:gd name="T49" fmla="*/ 75 h 169"/>
                  <a:gd name="T50" fmla="*/ 3 w 169"/>
                  <a:gd name="T51" fmla="*/ 59 h 169"/>
                  <a:gd name="T52" fmla="*/ 10 w 169"/>
                  <a:gd name="T53" fmla="*/ 43 h 169"/>
                  <a:gd name="T54" fmla="*/ 19 w 169"/>
                  <a:gd name="T55" fmla="*/ 31 h 169"/>
                  <a:gd name="T56" fmla="*/ 31 w 169"/>
                  <a:gd name="T57" fmla="*/ 19 h 169"/>
                  <a:gd name="T58" fmla="*/ 44 w 169"/>
                  <a:gd name="T59" fmla="*/ 10 h 169"/>
                  <a:gd name="T60" fmla="*/ 59 w 169"/>
                  <a:gd name="T61" fmla="*/ 3 h 169"/>
                  <a:gd name="T62" fmla="*/ 75 w 169"/>
                  <a:gd name="T63" fmla="*/ 0 h 1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9" h="169">
                    <a:moveTo>
                      <a:pt x="84" y="0"/>
                    </a:moveTo>
                    <a:lnTo>
                      <a:pt x="93" y="0"/>
                    </a:lnTo>
                    <a:lnTo>
                      <a:pt x="101" y="1"/>
                    </a:lnTo>
                    <a:lnTo>
                      <a:pt x="109" y="3"/>
                    </a:lnTo>
                    <a:lnTo>
                      <a:pt x="117" y="6"/>
                    </a:lnTo>
                    <a:lnTo>
                      <a:pt x="124" y="10"/>
                    </a:lnTo>
                    <a:lnTo>
                      <a:pt x="132" y="14"/>
                    </a:lnTo>
                    <a:lnTo>
                      <a:pt x="138" y="19"/>
                    </a:lnTo>
                    <a:lnTo>
                      <a:pt x="145" y="24"/>
                    </a:lnTo>
                    <a:lnTo>
                      <a:pt x="149" y="31"/>
                    </a:lnTo>
                    <a:lnTo>
                      <a:pt x="155" y="36"/>
                    </a:lnTo>
                    <a:lnTo>
                      <a:pt x="158" y="43"/>
                    </a:lnTo>
                    <a:lnTo>
                      <a:pt x="162" y="51"/>
                    </a:lnTo>
                    <a:lnTo>
                      <a:pt x="165" y="59"/>
                    </a:lnTo>
                    <a:lnTo>
                      <a:pt x="168" y="67"/>
                    </a:lnTo>
                    <a:lnTo>
                      <a:pt x="169" y="75"/>
                    </a:lnTo>
                    <a:lnTo>
                      <a:pt x="169" y="84"/>
                    </a:lnTo>
                    <a:lnTo>
                      <a:pt x="169" y="92"/>
                    </a:lnTo>
                    <a:lnTo>
                      <a:pt x="168" y="101"/>
                    </a:lnTo>
                    <a:lnTo>
                      <a:pt x="165" y="109"/>
                    </a:lnTo>
                    <a:lnTo>
                      <a:pt x="162" y="117"/>
                    </a:lnTo>
                    <a:lnTo>
                      <a:pt x="158" y="124"/>
                    </a:lnTo>
                    <a:lnTo>
                      <a:pt x="155" y="131"/>
                    </a:lnTo>
                    <a:lnTo>
                      <a:pt x="149" y="138"/>
                    </a:lnTo>
                    <a:lnTo>
                      <a:pt x="145" y="143"/>
                    </a:lnTo>
                    <a:lnTo>
                      <a:pt x="138" y="149"/>
                    </a:lnTo>
                    <a:lnTo>
                      <a:pt x="132" y="155"/>
                    </a:lnTo>
                    <a:lnTo>
                      <a:pt x="124" y="158"/>
                    </a:lnTo>
                    <a:lnTo>
                      <a:pt x="117" y="162"/>
                    </a:lnTo>
                    <a:lnTo>
                      <a:pt x="109" y="165"/>
                    </a:lnTo>
                    <a:lnTo>
                      <a:pt x="101" y="167"/>
                    </a:lnTo>
                    <a:lnTo>
                      <a:pt x="93" y="169"/>
                    </a:lnTo>
                    <a:lnTo>
                      <a:pt x="84" y="169"/>
                    </a:lnTo>
                    <a:lnTo>
                      <a:pt x="75" y="169"/>
                    </a:lnTo>
                    <a:lnTo>
                      <a:pt x="67" y="167"/>
                    </a:lnTo>
                    <a:lnTo>
                      <a:pt x="59" y="165"/>
                    </a:lnTo>
                    <a:lnTo>
                      <a:pt x="51" y="162"/>
                    </a:lnTo>
                    <a:lnTo>
                      <a:pt x="44" y="158"/>
                    </a:lnTo>
                    <a:lnTo>
                      <a:pt x="36" y="155"/>
                    </a:lnTo>
                    <a:lnTo>
                      <a:pt x="31" y="149"/>
                    </a:lnTo>
                    <a:lnTo>
                      <a:pt x="24" y="143"/>
                    </a:lnTo>
                    <a:lnTo>
                      <a:pt x="19" y="138"/>
                    </a:lnTo>
                    <a:lnTo>
                      <a:pt x="14" y="131"/>
                    </a:lnTo>
                    <a:lnTo>
                      <a:pt x="10" y="124"/>
                    </a:lnTo>
                    <a:lnTo>
                      <a:pt x="6" y="117"/>
                    </a:lnTo>
                    <a:lnTo>
                      <a:pt x="3" y="109"/>
                    </a:lnTo>
                    <a:lnTo>
                      <a:pt x="1" y="101"/>
                    </a:lnTo>
                    <a:lnTo>
                      <a:pt x="0" y="92"/>
                    </a:lnTo>
                    <a:lnTo>
                      <a:pt x="0" y="84"/>
                    </a:lnTo>
                    <a:lnTo>
                      <a:pt x="0" y="75"/>
                    </a:lnTo>
                    <a:lnTo>
                      <a:pt x="1" y="67"/>
                    </a:lnTo>
                    <a:lnTo>
                      <a:pt x="3" y="59"/>
                    </a:lnTo>
                    <a:lnTo>
                      <a:pt x="6" y="51"/>
                    </a:lnTo>
                    <a:lnTo>
                      <a:pt x="10" y="43"/>
                    </a:lnTo>
                    <a:lnTo>
                      <a:pt x="14" y="36"/>
                    </a:lnTo>
                    <a:lnTo>
                      <a:pt x="19" y="31"/>
                    </a:lnTo>
                    <a:lnTo>
                      <a:pt x="24" y="24"/>
                    </a:lnTo>
                    <a:lnTo>
                      <a:pt x="31" y="19"/>
                    </a:lnTo>
                    <a:lnTo>
                      <a:pt x="36" y="14"/>
                    </a:lnTo>
                    <a:lnTo>
                      <a:pt x="44" y="10"/>
                    </a:lnTo>
                    <a:lnTo>
                      <a:pt x="51" y="6"/>
                    </a:lnTo>
                    <a:lnTo>
                      <a:pt x="59" y="3"/>
                    </a:lnTo>
                    <a:lnTo>
                      <a:pt x="67" y="1"/>
                    </a:lnTo>
                    <a:lnTo>
                      <a:pt x="75" y="0"/>
                    </a:lnTo>
                    <a:lnTo>
                      <a:pt x="84" y="0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rgbClr val="00B0F0"/>
                  </a:gs>
                  <a:gs pos="74000">
                    <a:srgbClr val="002060"/>
                  </a:gs>
                </a:gsLst>
                <a:path path="circle">
                  <a:fillToRect l="50000" t="50000" r="50000" b="50000"/>
                </a:path>
                <a:tileRect/>
              </a:gra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0" name="Freeform 31"/>
              <p:cNvSpPr>
                <a:spLocks/>
              </p:cNvSpPr>
              <p:nvPr/>
            </p:nvSpPr>
            <p:spPr bwMode="auto">
              <a:xfrm>
                <a:off x="3203377" y="393675"/>
                <a:ext cx="12699" cy="12699"/>
              </a:xfrm>
              <a:custGeom>
                <a:avLst/>
                <a:gdLst>
                  <a:gd name="T0" fmla="*/ 23 w 46"/>
                  <a:gd name="T1" fmla="*/ 0 h 47"/>
                  <a:gd name="T2" fmla="*/ 27 w 46"/>
                  <a:gd name="T3" fmla="*/ 1 h 47"/>
                  <a:gd name="T4" fmla="*/ 32 w 46"/>
                  <a:gd name="T5" fmla="*/ 2 h 47"/>
                  <a:gd name="T6" fmla="*/ 35 w 46"/>
                  <a:gd name="T7" fmla="*/ 5 h 47"/>
                  <a:gd name="T8" fmla="*/ 39 w 46"/>
                  <a:gd name="T9" fmla="*/ 7 h 47"/>
                  <a:gd name="T10" fmla="*/ 42 w 46"/>
                  <a:gd name="T11" fmla="*/ 10 h 47"/>
                  <a:gd name="T12" fmla="*/ 45 w 46"/>
                  <a:gd name="T13" fmla="*/ 15 h 47"/>
                  <a:gd name="T14" fmla="*/ 46 w 46"/>
                  <a:gd name="T15" fmla="*/ 18 h 47"/>
                  <a:gd name="T16" fmla="*/ 46 w 46"/>
                  <a:gd name="T17" fmla="*/ 24 h 47"/>
                  <a:gd name="T18" fmla="*/ 46 w 46"/>
                  <a:gd name="T19" fmla="*/ 28 h 47"/>
                  <a:gd name="T20" fmla="*/ 45 w 46"/>
                  <a:gd name="T21" fmla="*/ 32 h 47"/>
                  <a:gd name="T22" fmla="*/ 42 w 46"/>
                  <a:gd name="T23" fmla="*/ 36 h 47"/>
                  <a:gd name="T24" fmla="*/ 39 w 46"/>
                  <a:gd name="T25" fmla="*/ 40 h 47"/>
                  <a:gd name="T26" fmla="*/ 35 w 46"/>
                  <a:gd name="T27" fmla="*/ 42 h 47"/>
                  <a:gd name="T28" fmla="*/ 32 w 46"/>
                  <a:gd name="T29" fmla="*/ 44 h 47"/>
                  <a:gd name="T30" fmla="*/ 27 w 46"/>
                  <a:gd name="T31" fmla="*/ 46 h 47"/>
                  <a:gd name="T32" fmla="*/ 23 w 46"/>
                  <a:gd name="T33" fmla="*/ 47 h 47"/>
                  <a:gd name="T34" fmla="*/ 18 w 46"/>
                  <a:gd name="T35" fmla="*/ 46 h 47"/>
                  <a:gd name="T36" fmla="*/ 14 w 46"/>
                  <a:gd name="T37" fmla="*/ 44 h 47"/>
                  <a:gd name="T38" fmla="*/ 10 w 46"/>
                  <a:gd name="T39" fmla="*/ 42 h 47"/>
                  <a:gd name="T40" fmla="*/ 7 w 46"/>
                  <a:gd name="T41" fmla="*/ 40 h 47"/>
                  <a:gd name="T42" fmla="*/ 4 w 46"/>
                  <a:gd name="T43" fmla="*/ 36 h 47"/>
                  <a:gd name="T44" fmla="*/ 1 w 46"/>
                  <a:gd name="T45" fmla="*/ 32 h 47"/>
                  <a:gd name="T46" fmla="*/ 0 w 46"/>
                  <a:gd name="T47" fmla="*/ 28 h 47"/>
                  <a:gd name="T48" fmla="*/ 0 w 46"/>
                  <a:gd name="T49" fmla="*/ 24 h 47"/>
                  <a:gd name="T50" fmla="*/ 0 w 46"/>
                  <a:gd name="T51" fmla="*/ 18 h 47"/>
                  <a:gd name="T52" fmla="*/ 1 w 46"/>
                  <a:gd name="T53" fmla="*/ 15 h 47"/>
                  <a:gd name="T54" fmla="*/ 4 w 46"/>
                  <a:gd name="T55" fmla="*/ 10 h 47"/>
                  <a:gd name="T56" fmla="*/ 7 w 46"/>
                  <a:gd name="T57" fmla="*/ 7 h 47"/>
                  <a:gd name="T58" fmla="*/ 10 w 46"/>
                  <a:gd name="T59" fmla="*/ 5 h 47"/>
                  <a:gd name="T60" fmla="*/ 14 w 46"/>
                  <a:gd name="T61" fmla="*/ 2 h 47"/>
                  <a:gd name="T62" fmla="*/ 18 w 46"/>
                  <a:gd name="T63" fmla="*/ 1 h 47"/>
                  <a:gd name="T64" fmla="*/ 23 w 46"/>
                  <a:gd name="T65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6" h="47">
                    <a:moveTo>
                      <a:pt x="23" y="0"/>
                    </a:moveTo>
                    <a:lnTo>
                      <a:pt x="27" y="1"/>
                    </a:lnTo>
                    <a:lnTo>
                      <a:pt x="32" y="2"/>
                    </a:lnTo>
                    <a:lnTo>
                      <a:pt x="35" y="5"/>
                    </a:lnTo>
                    <a:lnTo>
                      <a:pt x="39" y="7"/>
                    </a:lnTo>
                    <a:lnTo>
                      <a:pt x="42" y="10"/>
                    </a:lnTo>
                    <a:lnTo>
                      <a:pt x="45" y="15"/>
                    </a:lnTo>
                    <a:lnTo>
                      <a:pt x="46" y="18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5" y="32"/>
                    </a:lnTo>
                    <a:lnTo>
                      <a:pt x="42" y="36"/>
                    </a:lnTo>
                    <a:lnTo>
                      <a:pt x="39" y="40"/>
                    </a:lnTo>
                    <a:lnTo>
                      <a:pt x="35" y="42"/>
                    </a:lnTo>
                    <a:lnTo>
                      <a:pt x="32" y="44"/>
                    </a:lnTo>
                    <a:lnTo>
                      <a:pt x="27" y="46"/>
                    </a:lnTo>
                    <a:lnTo>
                      <a:pt x="23" y="47"/>
                    </a:lnTo>
                    <a:lnTo>
                      <a:pt x="18" y="46"/>
                    </a:lnTo>
                    <a:lnTo>
                      <a:pt x="14" y="44"/>
                    </a:lnTo>
                    <a:lnTo>
                      <a:pt x="10" y="42"/>
                    </a:lnTo>
                    <a:lnTo>
                      <a:pt x="7" y="40"/>
                    </a:lnTo>
                    <a:lnTo>
                      <a:pt x="4" y="36"/>
                    </a:lnTo>
                    <a:lnTo>
                      <a:pt x="1" y="32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18"/>
                    </a:lnTo>
                    <a:lnTo>
                      <a:pt x="1" y="15"/>
                    </a:lnTo>
                    <a:lnTo>
                      <a:pt x="4" y="10"/>
                    </a:lnTo>
                    <a:lnTo>
                      <a:pt x="7" y="7"/>
                    </a:lnTo>
                    <a:lnTo>
                      <a:pt x="10" y="5"/>
                    </a:lnTo>
                    <a:lnTo>
                      <a:pt x="14" y="2"/>
                    </a:lnTo>
                    <a:lnTo>
                      <a:pt x="18" y="1"/>
                    </a:lnTo>
                    <a:lnTo>
                      <a:pt x="23" y="0"/>
                    </a:lnTo>
                    <a:close/>
                  </a:path>
                </a:pathLst>
              </a:custGeom>
              <a:solidFill>
                <a:srgbClr val="E6E7E8">
                  <a:alpha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1" name="Freeform 32"/>
              <p:cNvSpPr>
                <a:spLocks/>
              </p:cNvSpPr>
              <p:nvPr/>
            </p:nvSpPr>
            <p:spPr bwMode="auto">
              <a:xfrm>
                <a:off x="3224213" y="387350"/>
                <a:ext cx="7938" cy="7938"/>
              </a:xfrm>
              <a:custGeom>
                <a:avLst/>
                <a:gdLst>
                  <a:gd name="T0" fmla="*/ 15 w 30"/>
                  <a:gd name="T1" fmla="*/ 0 h 31"/>
                  <a:gd name="T2" fmla="*/ 18 w 30"/>
                  <a:gd name="T3" fmla="*/ 0 h 31"/>
                  <a:gd name="T4" fmla="*/ 20 w 30"/>
                  <a:gd name="T5" fmla="*/ 1 h 31"/>
                  <a:gd name="T6" fmla="*/ 24 w 30"/>
                  <a:gd name="T7" fmla="*/ 2 h 31"/>
                  <a:gd name="T8" fmla="*/ 26 w 30"/>
                  <a:gd name="T9" fmla="*/ 4 h 31"/>
                  <a:gd name="T10" fmla="*/ 27 w 30"/>
                  <a:gd name="T11" fmla="*/ 7 h 31"/>
                  <a:gd name="T12" fmla="*/ 29 w 30"/>
                  <a:gd name="T13" fmla="*/ 9 h 31"/>
                  <a:gd name="T14" fmla="*/ 29 w 30"/>
                  <a:gd name="T15" fmla="*/ 11 h 31"/>
                  <a:gd name="T16" fmla="*/ 30 w 30"/>
                  <a:gd name="T17" fmla="*/ 15 h 31"/>
                  <a:gd name="T18" fmla="*/ 29 w 30"/>
                  <a:gd name="T19" fmla="*/ 18 h 31"/>
                  <a:gd name="T20" fmla="*/ 29 w 30"/>
                  <a:gd name="T21" fmla="*/ 20 h 31"/>
                  <a:gd name="T22" fmla="*/ 27 w 30"/>
                  <a:gd name="T23" fmla="*/ 24 h 31"/>
                  <a:gd name="T24" fmla="*/ 26 w 30"/>
                  <a:gd name="T25" fmla="*/ 26 h 31"/>
                  <a:gd name="T26" fmla="*/ 24 w 30"/>
                  <a:gd name="T27" fmla="*/ 27 h 31"/>
                  <a:gd name="T28" fmla="*/ 20 w 30"/>
                  <a:gd name="T29" fmla="*/ 28 h 31"/>
                  <a:gd name="T30" fmla="*/ 18 w 30"/>
                  <a:gd name="T31" fmla="*/ 30 h 31"/>
                  <a:gd name="T32" fmla="*/ 15 w 30"/>
                  <a:gd name="T33" fmla="*/ 31 h 31"/>
                  <a:gd name="T34" fmla="*/ 11 w 30"/>
                  <a:gd name="T35" fmla="*/ 30 h 31"/>
                  <a:gd name="T36" fmla="*/ 9 w 30"/>
                  <a:gd name="T37" fmla="*/ 28 h 31"/>
                  <a:gd name="T38" fmla="*/ 7 w 30"/>
                  <a:gd name="T39" fmla="*/ 27 h 31"/>
                  <a:gd name="T40" fmla="*/ 4 w 30"/>
                  <a:gd name="T41" fmla="*/ 26 h 31"/>
                  <a:gd name="T42" fmla="*/ 2 w 30"/>
                  <a:gd name="T43" fmla="*/ 24 h 31"/>
                  <a:gd name="T44" fmla="*/ 1 w 30"/>
                  <a:gd name="T45" fmla="*/ 20 h 31"/>
                  <a:gd name="T46" fmla="*/ 0 w 30"/>
                  <a:gd name="T47" fmla="*/ 18 h 31"/>
                  <a:gd name="T48" fmla="*/ 0 w 30"/>
                  <a:gd name="T49" fmla="*/ 15 h 31"/>
                  <a:gd name="T50" fmla="*/ 0 w 30"/>
                  <a:gd name="T51" fmla="*/ 11 h 31"/>
                  <a:gd name="T52" fmla="*/ 1 w 30"/>
                  <a:gd name="T53" fmla="*/ 9 h 31"/>
                  <a:gd name="T54" fmla="*/ 2 w 30"/>
                  <a:gd name="T55" fmla="*/ 7 h 31"/>
                  <a:gd name="T56" fmla="*/ 4 w 30"/>
                  <a:gd name="T57" fmla="*/ 4 h 31"/>
                  <a:gd name="T58" fmla="*/ 7 w 30"/>
                  <a:gd name="T59" fmla="*/ 2 h 31"/>
                  <a:gd name="T60" fmla="*/ 9 w 30"/>
                  <a:gd name="T61" fmla="*/ 1 h 31"/>
                  <a:gd name="T62" fmla="*/ 11 w 30"/>
                  <a:gd name="T63" fmla="*/ 0 h 31"/>
                  <a:gd name="T64" fmla="*/ 15 w 30"/>
                  <a:gd name="T65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30" h="31">
                    <a:moveTo>
                      <a:pt x="15" y="0"/>
                    </a:moveTo>
                    <a:lnTo>
                      <a:pt x="18" y="0"/>
                    </a:lnTo>
                    <a:lnTo>
                      <a:pt x="20" y="1"/>
                    </a:lnTo>
                    <a:lnTo>
                      <a:pt x="24" y="2"/>
                    </a:lnTo>
                    <a:lnTo>
                      <a:pt x="26" y="4"/>
                    </a:lnTo>
                    <a:lnTo>
                      <a:pt x="27" y="7"/>
                    </a:lnTo>
                    <a:lnTo>
                      <a:pt x="29" y="9"/>
                    </a:lnTo>
                    <a:lnTo>
                      <a:pt x="29" y="11"/>
                    </a:lnTo>
                    <a:lnTo>
                      <a:pt x="30" y="15"/>
                    </a:lnTo>
                    <a:lnTo>
                      <a:pt x="29" y="18"/>
                    </a:lnTo>
                    <a:lnTo>
                      <a:pt x="29" y="20"/>
                    </a:lnTo>
                    <a:lnTo>
                      <a:pt x="27" y="24"/>
                    </a:lnTo>
                    <a:lnTo>
                      <a:pt x="26" y="26"/>
                    </a:lnTo>
                    <a:lnTo>
                      <a:pt x="24" y="27"/>
                    </a:lnTo>
                    <a:lnTo>
                      <a:pt x="20" y="28"/>
                    </a:lnTo>
                    <a:lnTo>
                      <a:pt x="18" y="30"/>
                    </a:lnTo>
                    <a:lnTo>
                      <a:pt x="15" y="31"/>
                    </a:lnTo>
                    <a:lnTo>
                      <a:pt x="11" y="30"/>
                    </a:lnTo>
                    <a:lnTo>
                      <a:pt x="9" y="28"/>
                    </a:lnTo>
                    <a:lnTo>
                      <a:pt x="7" y="27"/>
                    </a:lnTo>
                    <a:lnTo>
                      <a:pt x="4" y="26"/>
                    </a:lnTo>
                    <a:lnTo>
                      <a:pt x="2" y="24"/>
                    </a:lnTo>
                    <a:lnTo>
                      <a:pt x="1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1"/>
                    </a:lnTo>
                    <a:lnTo>
                      <a:pt x="1" y="9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7" y="2"/>
                    </a:lnTo>
                    <a:lnTo>
                      <a:pt x="9" y="1"/>
                    </a:lnTo>
                    <a:lnTo>
                      <a:pt x="11" y="0"/>
                    </a:lnTo>
                    <a:lnTo>
                      <a:pt x="15" y="0"/>
                    </a:lnTo>
                    <a:close/>
                  </a:path>
                </a:pathLst>
              </a:custGeom>
              <a:solidFill>
                <a:srgbClr val="E6E7E8">
                  <a:alpha val="50000"/>
                </a:srgb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84200" y="207285"/>
            <a:ext cx="10896600" cy="72707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3200" b="0">
                <a:solidFill>
                  <a:schemeClr val="tx1">
                    <a:lumMod val="75000"/>
                    <a:lumOff val="25000"/>
                  </a:schemeClr>
                </a:solidFill>
                <a:latin typeface="Bebas Neue" panose="020B0606020202050201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6900" y="1201511"/>
            <a:ext cx="10896600" cy="4351338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493500" y="6492875"/>
            <a:ext cx="698500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596900" y="0"/>
            <a:ext cx="731072" cy="185255"/>
            <a:chOff x="-374958" y="1010653"/>
            <a:chExt cx="1835087" cy="914400"/>
          </a:xfrm>
        </p:grpSpPr>
        <p:sp>
          <p:nvSpPr>
            <p:cNvPr id="8" name="Rectangle 7"/>
            <p:cNvSpPr/>
            <p:nvPr userDrawn="1"/>
          </p:nvSpPr>
          <p:spPr>
            <a:xfrm>
              <a:off x="-374958" y="1010653"/>
              <a:ext cx="914400" cy="914400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545728" y="1010653"/>
              <a:ext cx="914401" cy="9144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/>
            </a:p>
          </p:txBody>
        </p:sp>
      </p:grpSp>
      <p:sp>
        <p:nvSpPr>
          <p:cNvPr id="56" name="Picture Placeholder 4"/>
          <p:cNvSpPr>
            <a:spLocks noGrp="1"/>
          </p:cNvSpPr>
          <p:nvPr>
            <p:ph type="pic" sz="quarter" idx="13"/>
          </p:nvPr>
        </p:nvSpPr>
        <p:spPr>
          <a:xfrm>
            <a:off x="4675348" y="2189224"/>
            <a:ext cx="1744542" cy="3076726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49932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11413968" y="6502407"/>
            <a:ext cx="778036" cy="3555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9" name="Rectangle 8"/>
          <p:cNvSpPr/>
          <p:nvPr userDrawn="1"/>
        </p:nvSpPr>
        <p:spPr>
          <a:xfrm>
            <a:off x="10627365" y="6502407"/>
            <a:ext cx="878839" cy="35559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Placeholder 1"/>
          <p:cNvSpPr>
            <a:spLocks noGrp="1"/>
          </p:cNvSpPr>
          <p:nvPr userDrawn="1"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 userDrawn="1"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11506196" y="6485664"/>
            <a:ext cx="685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41DAFBFA-C652-4E4B-AC31-FEFC406FA0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Rectangle 9"/>
          <p:cNvSpPr/>
          <p:nvPr userDrawn="1"/>
        </p:nvSpPr>
        <p:spPr>
          <a:xfrm>
            <a:off x="8" y="6502400"/>
            <a:ext cx="10706097" cy="3556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1800"/>
          </a:p>
        </p:txBody>
      </p:sp>
      <p:sp>
        <p:nvSpPr>
          <p:cNvPr id="11" name="Rectangle 10"/>
          <p:cNvSpPr/>
          <p:nvPr userDrawn="1"/>
        </p:nvSpPr>
        <p:spPr>
          <a:xfrm>
            <a:off x="8882014" y="6532904"/>
            <a:ext cx="1309013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200" dirty="0">
                <a:solidFill>
                  <a:srgbClr val="505555"/>
                </a:solidFill>
                <a:latin typeface="+mj-lt"/>
                <a:ea typeface="Roboto" panose="02000000000000000000" pitchFamily="2" charset="0"/>
              </a:rPr>
              <a:t>www.comany.com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0771237" y="6529728"/>
            <a:ext cx="669827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1200" dirty="0" smtClean="0">
                <a:solidFill>
                  <a:schemeClr val="bg1"/>
                </a:solidFill>
                <a:latin typeface="+mj-lt"/>
                <a:ea typeface="Roboto" panose="02000000000000000000" pitchFamily="2" charset="0"/>
              </a:rPr>
              <a:t>Logo</a:t>
            </a:r>
            <a:endParaRPr lang="en-US" sz="1200" dirty="0">
              <a:solidFill>
                <a:schemeClr val="bg1"/>
              </a:solidFill>
              <a:latin typeface="+mj-lt"/>
              <a:ea typeface="Roboto" panose="020000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91992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74" r:id="rId2"/>
    <p:sldLayoutId id="2147483675" r:id="rId3"/>
    <p:sldLayoutId id="2147483705" r:id="rId4"/>
    <p:sldLayoutId id="2147483703" r:id="rId5"/>
    <p:sldLayoutId id="2147483702" r:id="rId6"/>
    <p:sldLayoutId id="2147483701" r:id="rId7"/>
    <p:sldLayoutId id="2147483700" r:id="rId8"/>
    <p:sldLayoutId id="2147483699" r:id="rId9"/>
    <p:sldLayoutId id="2147483698" r:id="rId10"/>
    <p:sldLayoutId id="2147483676" r:id="rId11"/>
    <p:sldLayoutId id="2147483677" r:id="rId12"/>
    <p:sldLayoutId id="2147483678" r:id="rId13"/>
    <p:sldLayoutId id="2147483679" r:id="rId14"/>
    <p:sldLayoutId id="2147483680" r:id="rId15"/>
    <p:sldLayoutId id="2147483704" r:id="rId16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kern="1200">
          <a:solidFill>
            <a:schemeClr val="tx1"/>
          </a:solidFill>
          <a:latin typeface="Bebas Neue" panose="020B0606020202050201" pitchFamily="34" charset="0"/>
          <a:ea typeface="Open Sans Light" panose="020B0306030504020204" pitchFamily="34" charset="0"/>
          <a:cs typeface="Open Sans Light" panose="020B0306030504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Open Sans Light" panose="020B0306030504020204" pitchFamily="34" charset="0"/>
          <a:cs typeface="Open Sans Light" panose="020B03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wmf"/><Relationship Id="rId2" Type="http://schemas.openxmlformats.org/officeDocument/2006/relationships/image" Target="../media/image3.wmf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gif"/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6B4C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1922583" y="678367"/>
            <a:ext cx="8325073" cy="807178"/>
          </a:xfrm>
          <a:prstGeom prst="rect">
            <a:avLst/>
          </a:prstGeom>
        </p:spPr>
        <p:txBody>
          <a:bodyPr wrap="none" anchor="ctr"/>
          <a:lstStyle/>
          <a:p>
            <a:pPr algn="ctr">
              <a:defRPr/>
            </a:pPr>
            <a:r>
              <a:rPr lang="en-US" sz="5400" noProof="1" smtClean="0">
                <a:solidFill>
                  <a:schemeClr val="bg1"/>
                </a:solidFill>
                <a:latin typeface="Bebas Neue" panose="020B0606020202050201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 Meeting people</a:t>
            </a:r>
            <a:endParaRPr lang="en-US" sz="5400" noProof="1">
              <a:solidFill>
                <a:schemeClr val="bg1"/>
              </a:solidFill>
              <a:latin typeface="Bebas Neue" panose="020B0606020202050201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922583" y="3666255"/>
            <a:ext cx="8346834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buClr>
                <a:srgbClr val="E24848"/>
              </a:buClr>
              <a:defRPr/>
            </a:pPr>
            <a:r>
              <a:rPr lang="en-US" sz="4800" noProof="1" smtClean="0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1A Where are you from</a:t>
            </a:r>
            <a:endParaRPr lang="en-US" sz="4800" noProof="1">
              <a:solidFill>
                <a:schemeClr val="bg1"/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8" name="Slide Number Placeholder 3"/>
          <p:cNvSpPr txBox="1">
            <a:spLocks/>
          </p:cNvSpPr>
          <p:nvPr/>
        </p:nvSpPr>
        <p:spPr>
          <a:xfrm>
            <a:off x="11493500" y="6492875"/>
            <a:ext cx="698500" cy="365125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100" dirty="0" smtClean="0">
                <a:solidFill>
                  <a:schemeClr val="bg1"/>
                </a:solidFill>
              </a:rPr>
              <a:t>1</a:t>
            </a:r>
            <a:endParaRPr lang="en-US" sz="1100" dirty="0">
              <a:solidFill>
                <a:schemeClr val="bg1"/>
              </a:solidFill>
            </a:endParaRPr>
          </a:p>
        </p:txBody>
      </p:sp>
      <p:pic>
        <p:nvPicPr>
          <p:cNvPr id="1026" name="Picture 2" descr="C:\Program Files (x86)\Microsoft Office\MEDIA\CAGCAT10\j0299125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0389" y="2195412"/>
            <a:ext cx="458736" cy="752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C:\Program Files (x86)\Microsoft Office\MEDIA\CAGCAT10\j0299125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7037" y="2195413"/>
            <a:ext cx="458737" cy="752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C:\Program Files (x86)\Microsoft Office\MEDIA\CAGCAT10\j0299125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1327" y="2195411"/>
            <a:ext cx="458737" cy="7527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Program Files (x86)\Microsoft Office\MEDIA\CAGCAT10\j0299125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0983" y="2195414"/>
            <a:ext cx="458737" cy="7527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1612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Be Negative yes/no questions and short </a:t>
            </a:r>
            <a:r>
              <a:rPr lang="en-US" dirty="0" smtClean="0">
                <a:solidFill>
                  <a:schemeClr val="tx1"/>
                </a:solidFill>
              </a:rPr>
              <a:t>answ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9788" y="2853558"/>
            <a:ext cx="10549321" cy="2471855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>* We make negatives of be with not. Not comes after the word.</a:t>
            </a:r>
          </a:p>
          <a:p>
            <a:pPr marL="0" indent="0">
              <a:buNone/>
            </a:pPr>
            <a:r>
              <a:rPr lang="en-US" dirty="0" smtClean="0"/>
              <a:t>* Word order in YES/NO questions is: </a:t>
            </a:r>
            <a:r>
              <a:rPr lang="en-US" dirty="0" err="1" smtClean="0"/>
              <a:t>be+subject</a:t>
            </a:r>
            <a:r>
              <a:rPr lang="en-US" dirty="0" smtClean="0"/>
              <a:t>+</a:t>
            </a:r>
          </a:p>
          <a:p>
            <a:pPr marL="0" indent="0">
              <a:buNone/>
            </a:pPr>
            <a:r>
              <a:rPr lang="en-US" dirty="0" smtClean="0"/>
              <a:t>* We don’t use the contracted form (</a:t>
            </a:r>
            <a:r>
              <a:rPr lang="en-US" dirty="0" err="1" smtClean="0"/>
              <a:t>skra</a:t>
            </a:r>
            <a:r>
              <a:rPr lang="sr-Latn-RS" dirty="0" smtClean="0"/>
              <a:t>ćenu formu)</a:t>
            </a:r>
            <a:r>
              <a:rPr lang="en-US" dirty="0" smtClean="0"/>
              <a:t> in positive short answers:  Yes, I am. NOT Yes, I’m.</a:t>
            </a:r>
          </a:p>
          <a:p>
            <a:pPr marL="0" indent="0">
              <a:buNone/>
            </a:pPr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pPr/>
              <a:t>10</a:t>
            </a:fld>
            <a:endParaRPr lang="en-US" dirty="0"/>
          </a:p>
        </p:txBody>
      </p:sp>
      <p:sp>
        <p:nvSpPr>
          <p:cNvPr id="5" name="Minus 4"/>
          <p:cNvSpPr/>
          <p:nvPr/>
        </p:nvSpPr>
        <p:spPr>
          <a:xfrm>
            <a:off x="5644055" y="4445875"/>
            <a:ext cx="1765738" cy="63062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/>
          </a:p>
        </p:txBody>
      </p:sp>
      <p:sp>
        <p:nvSpPr>
          <p:cNvPr id="8" name="Rectangle 7"/>
          <p:cNvSpPr/>
          <p:nvPr/>
        </p:nvSpPr>
        <p:spPr>
          <a:xfrm>
            <a:off x="769788" y="1937680"/>
            <a:ext cx="146065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800" dirty="0" smtClean="0">
                <a:solidFill>
                  <a:prstClr val="black">
                    <a:lumMod val="75000"/>
                    <a:lumOff val="25000"/>
                  </a:prstClr>
                </a:solidFill>
                <a:latin typeface="Calibri Light"/>
              </a:rPr>
              <a:t>*NOTE*</a:t>
            </a:r>
            <a:endParaRPr lang="sr-Latn-RS" dirty="0"/>
          </a:p>
        </p:txBody>
      </p:sp>
    </p:spTree>
    <p:extLst>
      <p:ext uri="{BB962C8B-B14F-4D97-AF65-F5344CB8AC3E}">
        <p14:creationId xmlns:p14="http://schemas.microsoft.com/office/powerpoint/2010/main" val="888416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1C Personal </a:t>
            </a:r>
            <a:r>
              <a:rPr lang="en-US" dirty="0"/>
              <a:t>Details </a:t>
            </a:r>
            <a:endParaRPr lang="sr-Latn-RS" dirty="0"/>
          </a:p>
        </p:txBody>
      </p:sp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759" y="1201738"/>
            <a:ext cx="10216055" cy="4915283"/>
          </a:xfr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61158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Group 68"/>
          <p:cNvGrpSpPr/>
          <p:nvPr/>
        </p:nvGrpSpPr>
        <p:grpSpPr>
          <a:xfrm>
            <a:off x="1588" y="2208837"/>
            <a:ext cx="12211574" cy="1622979"/>
            <a:chOff x="685800" y="2700871"/>
            <a:chExt cx="7683500" cy="983892"/>
          </a:xfrm>
          <a:solidFill>
            <a:schemeClr val="bg1">
              <a:alpha val="48000"/>
            </a:schemeClr>
          </a:solidFill>
        </p:grpSpPr>
        <p:sp>
          <p:nvSpPr>
            <p:cNvPr id="70" name="Freeform 69"/>
            <p:cNvSpPr>
              <a:spLocks/>
            </p:cNvSpPr>
            <p:nvPr/>
          </p:nvSpPr>
          <p:spPr bwMode="auto">
            <a:xfrm>
              <a:off x="4648200" y="2700871"/>
              <a:ext cx="3721100" cy="962025"/>
            </a:xfrm>
            <a:custGeom>
              <a:avLst/>
              <a:gdLst>
                <a:gd name="T0" fmla="*/ 2285 w 2344"/>
                <a:gd name="T1" fmla="*/ 502 h 606"/>
                <a:gd name="T2" fmla="*/ 2271 w 2344"/>
                <a:gd name="T3" fmla="*/ 405 h 606"/>
                <a:gd name="T4" fmla="*/ 2226 w 2344"/>
                <a:gd name="T5" fmla="*/ 384 h 606"/>
                <a:gd name="T6" fmla="*/ 2118 w 2344"/>
                <a:gd name="T7" fmla="*/ 396 h 606"/>
                <a:gd name="T8" fmla="*/ 2094 w 2344"/>
                <a:gd name="T9" fmla="*/ 436 h 606"/>
                <a:gd name="T10" fmla="*/ 2071 w 2344"/>
                <a:gd name="T11" fmla="*/ 502 h 606"/>
                <a:gd name="T12" fmla="*/ 2059 w 2344"/>
                <a:gd name="T13" fmla="*/ 455 h 606"/>
                <a:gd name="T14" fmla="*/ 2042 w 2344"/>
                <a:gd name="T15" fmla="*/ 490 h 606"/>
                <a:gd name="T16" fmla="*/ 2000 w 2344"/>
                <a:gd name="T17" fmla="*/ 490 h 606"/>
                <a:gd name="T18" fmla="*/ 1918 w 2344"/>
                <a:gd name="T19" fmla="*/ 368 h 606"/>
                <a:gd name="T20" fmla="*/ 1774 w 2344"/>
                <a:gd name="T21" fmla="*/ 361 h 606"/>
                <a:gd name="T22" fmla="*/ 1668 w 2344"/>
                <a:gd name="T23" fmla="*/ 349 h 606"/>
                <a:gd name="T24" fmla="*/ 1574 w 2344"/>
                <a:gd name="T25" fmla="*/ 356 h 606"/>
                <a:gd name="T26" fmla="*/ 1526 w 2344"/>
                <a:gd name="T27" fmla="*/ 384 h 606"/>
                <a:gd name="T28" fmla="*/ 1371 w 2344"/>
                <a:gd name="T29" fmla="*/ 431 h 606"/>
                <a:gd name="T30" fmla="*/ 1253 w 2344"/>
                <a:gd name="T31" fmla="*/ 313 h 606"/>
                <a:gd name="T32" fmla="*/ 1253 w 2344"/>
                <a:gd name="T33" fmla="*/ 104 h 606"/>
                <a:gd name="T34" fmla="*/ 1100 w 2344"/>
                <a:gd name="T35" fmla="*/ 115 h 606"/>
                <a:gd name="T36" fmla="*/ 1100 w 2344"/>
                <a:gd name="T37" fmla="*/ 361 h 606"/>
                <a:gd name="T38" fmla="*/ 1017 w 2344"/>
                <a:gd name="T39" fmla="*/ 443 h 606"/>
                <a:gd name="T40" fmla="*/ 850 w 2344"/>
                <a:gd name="T41" fmla="*/ 337 h 606"/>
                <a:gd name="T42" fmla="*/ 744 w 2344"/>
                <a:gd name="T43" fmla="*/ 302 h 606"/>
                <a:gd name="T44" fmla="*/ 744 w 2344"/>
                <a:gd name="T45" fmla="*/ 490 h 606"/>
                <a:gd name="T46" fmla="*/ 650 w 2344"/>
                <a:gd name="T47" fmla="*/ 502 h 606"/>
                <a:gd name="T48" fmla="*/ 636 w 2344"/>
                <a:gd name="T49" fmla="*/ 525 h 606"/>
                <a:gd name="T50" fmla="*/ 603 w 2344"/>
                <a:gd name="T51" fmla="*/ 408 h 606"/>
                <a:gd name="T52" fmla="*/ 542 w 2344"/>
                <a:gd name="T53" fmla="*/ 361 h 606"/>
                <a:gd name="T54" fmla="*/ 494 w 2344"/>
                <a:gd name="T55" fmla="*/ 419 h 606"/>
                <a:gd name="T56" fmla="*/ 483 w 2344"/>
                <a:gd name="T57" fmla="*/ 535 h 606"/>
                <a:gd name="T58" fmla="*/ 459 w 2344"/>
                <a:gd name="T59" fmla="*/ 525 h 606"/>
                <a:gd name="T60" fmla="*/ 355 w 2344"/>
                <a:gd name="T61" fmla="*/ 514 h 606"/>
                <a:gd name="T62" fmla="*/ 341 w 2344"/>
                <a:gd name="T63" fmla="*/ 490 h 606"/>
                <a:gd name="T64" fmla="*/ 318 w 2344"/>
                <a:gd name="T65" fmla="*/ 467 h 606"/>
                <a:gd name="T66" fmla="*/ 318 w 2344"/>
                <a:gd name="T67" fmla="*/ 269 h 606"/>
                <a:gd name="T68" fmla="*/ 247 w 2344"/>
                <a:gd name="T69" fmla="*/ 92 h 606"/>
                <a:gd name="T70" fmla="*/ 223 w 2344"/>
                <a:gd name="T71" fmla="*/ 0 h 606"/>
                <a:gd name="T72" fmla="*/ 223 w 2344"/>
                <a:gd name="T73" fmla="*/ 80 h 606"/>
                <a:gd name="T74" fmla="*/ 162 w 2344"/>
                <a:gd name="T75" fmla="*/ 92 h 606"/>
                <a:gd name="T76" fmla="*/ 162 w 2344"/>
                <a:gd name="T77" fmla="*/ 12 h 606"/>
                <a:gd name="T78" fmla="*/ 150 w 2344"/>
                <a:gd name="T79" fmla="*/ 68 h 606"/>
                <a:gd name="T80" fmla="*/ 56 w 2344"/>
                <a:gd name="T81" fmla="*/ 104 h 606"/>
                <a:gd name="T82" fmla="*/ 56 w 2344"/>
                <a:gd name="T83" fmla="*/ 349 h 606"/>
                <a:gd name="T84" fmla="*/ 56 w 2344"/>
                <a:gd name="T85" fmla="*/ 471 h 606"/>
                <a:gd name="T86" fmla="*/ 4 w 2344"/>
                <a:gd name="T87" fmla="*/ 490 h 606"/>
                <a:gd name="T88" fmla="*/ 127 w 2344"/>
                <a:gd name="T89" fmla="*/ 606 h 606"/>
                <a:gd name="T90" fmla="*/ 271 w 2344"/>
                <a:gd name="T91" fmla="*/ 606 h 606"/>
                <a:gd name="T92" fmla="*/ 412 w 2344"/>
                <a:gd name="T93" fmla="*/ 606 h 606"/>
                <a:gd name="T94" fmla="*/ 565 w 2344"/>
                <a:gd name="T95" fmla="*/ 606 h 606"/>
                <a:gd name="T96" fmla="*/ 709 w 2344"/>
                <a:gd name="T97" fmla="*/ 606 h 606"/>
                <a:gd name="T98" fmla="*/ 850 w 2344"/>
                <a:gd name="T99" fmla="*/ 606 h 606"/>
                <a:gd name="T100" fmla="*/ 994 w 2344"/>
                <a:gd name="T101" fmla="*/ 606 h 606"/>
                <a:gd name="T102" fmla="*/ 1135 w 2344"/>
                <a:gd name="T103" fmla="*/ 606 h 606"/>
                <a:gd name="T104" fmla="*/ 1277 w 2344"/>
                <a:gd name="T105" fmla="*/ 606 h 606"/>
                <a:gd name="T106" fmla="*/ 1432 w 2344"/>
                <a:gd name="T107" fmla="*/ 606 h 606"/>
                <a:gd name="T108" fmla="*/ 1574 w 2344"/>
                <a:gd name="T109" fmla="*/ 606 h 606"/>
                <a:gd name="T110" fmla="*/ 1715 w 2344"/>
                <a:gd name="T111" fmla="*/ 606 h 606"/>
                <a:gd name="T112" fmla="*/ 1859 w 2344"/>
                <a:gd name="T113" fmla="*/ 606 h 606"/>
                <a:gd name="T114" fmla="*/ 2000 w 2344"/>
                <a:gd name="T115" fmla="*/ 606 h 606"/>
                <a:gd name="T116" fmla="*/ 2141 w 2344"/>
                <a:gd name="T117" fmla="*/ 606 h 606"/>
                <a:gd name="T118" fmla="*/ 2297 w 2344"/>
                <a:gd name="T119" fmla="*/ 606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44" h="606">
                  <a:moveTo>
                    <a:pt x="2344" y="514"/>
                  </a:moveTo>
                  <a:lnTo>
                    <a:pt x="2344" y="514"/>
                  </a:lnTo>
                  <a:lnTo>
                    <a:pt x="2332" y="514"/>
                  </a:lnTo>
                  <a:lnTo>
                    <a:pt x="2332" y="514"/>
                  </a:lnTo>
                  <a:lnTo>
                    <a:pt x="2320" y="514"/>
                  </a:lnTo>
                  <a:lnTo>
                    <a:pt x="2320" y="514"/>
                  </a:lnTo>
                  <a:lnTo>
                    <a:pt x="2309" y="514"/>
                  </a:lnTo>
                  <a:lnTo>
                    <a:pt x="2309" y="514"/>
                  </a:lnTo>
                  <a:lnTo>
                    <a:pt x="2302" y="514"/>
                  </a:lnTo>
                  <a:lnTo>
                    <a:pt x="2297" y="514"/>
                  </a:lnTo>
                  <a:lnTo>
                    <a:pt x="2297" y="514"/>
                  </a:lnTo>
                  <a:lnTo>
                    <a:pt x="2297" y="507"/>
                  </a:lnTo>
                  <a:lnTo>
                    <a:pt x="2297" y="502"/>
                  </a:lnTo>
                  <a:lnTo>
                    <a:pt x="2297" y="502"/>
                  </a:lnTo>
                  <a:lnTo>
                    <a:pt x="2290" y="502"/>
                  </a:lnTo>
                  <a:lnTo>
                    <a:pt x="2285" y="502"/>
                  </a:lnTo>
                  <a:lnTo>
                    <a:pt x="2285" y="502"/>
                  </a:lnTo>
                  <a:lnTo>
                    <a:pt x="2285" y="490"/>
                  </a:lnTo>
                  <a:lnTo>
                    <a:pt x="2285" y="490"/>
                  </a:lnTo>
                  <a:lnTo>
                    <a:pt x="2285" y="443"/>
                  </a:lnTo>
                  <a:lnTo>
                    <a:pt x="2285" y="443"/>
                  </a:lnTo>
                  <a:lnTo>
                    <a:pt x="2285" y="431"/>
                  </a:lnTo>
                  <a:lnTo>
                    <a:pt x="2285" y="431"/>
                  </a:lnTo>
                  <a:lnTo>
                    <a:pt x="2285" y="419"/>
                  </a:lnTo>
                  <a:lnTo>
                    <a:pt x="2285" y="419"/>
                  </a:lnTo>
                  <a:lnTo>
                    <a:pt x="2285" y="412"/>
                  </a:lnTo>
                  <a:lnTo>
                    <a:pt x="2285" y="408"/>
                  </a:lnTo>
                  <a:lnTo>
                    <a:pt x="2285" y="408"/>
                  </a:lnTo>
                  <a:lnTo>
                    <a:pt x="2278" y="408"/>
                  </a:lnTo>
                  <a:lnTo>
                    <a:pt x="2273" y="408"/>
                  </a:lnTo>
                  <a:lnTo>
                    <a:pt x="2273" y="408"/>
                  </a:lnTo>
                  <a:lnTo>
                    <a:pt x="2271" y="405"/>
                  </a:lnTo>
                  <a:lnTo>
                    <a:pt x="2273" y="403"/>
                  </a:lnTo>
                  <a:lnTo>
                    <a:pt x="2273" y="396"/>
                  </a:lnTo>
                  <a:lnTo>
                    <a:pt x="2273" y="396"/>
                  </a:lnTo>
                  <a:lnTo>
                    <a:pt x="2266" y="396"/>
                  </a:lnTo>
                  <a:lnTo>
                    <a:pt x="2262" y="396"/>
                  </a:lnTo>
                  <a:lnTo>
                    <a:pt x="2262" y="396"/>
                  </a:lnTo>
                  <a:lnTo>
                    <a:pt x="2262" y="391"/>
                  </a:lnTo>
                  <a:lnTo>
                    <a:pt x="2262" y="384"/>
                  </a:lnTo>
                  <a:lnTo>
                    <a:pt x="2262" y="384"/>
                  </a:lnTo>
                  <a:lnTo>
                    <a:pt x="2254" y="384"/>
                  </a:lnTo>
                  <a:lnTo>
                    <a:pt x="2250" y="384"/>
                  </a:lnTo>
                  <a:lnTo>
                    <a:pt x="2250" y="384"/>
                  </a:lnTo>
                  <a:lnTo>
                    <a:pt x="2238" y="384"/>
                  </a:lnTo>
                  <a:lnTo>
                    <a:pt x="2238" y="384"/>
                  </a:lnTo>
                  <a:lnTo>
                    <a:pt x="2226" y="384"/>
                  </a:lnTo>
                  <a:lnTo>
                    <a:pt x="2226" y="384"/>
                  </a:lnTo>
                  <a:lnTo>
                    <a:pt x="2214" y="384"/>
                  </a:lnTo>
                  <a:lnTo>
                    <a:pt x="2214" y="384"/>
                  </a:lnTo>
                  <a:lnTo>
                    <a:pt x="2188" y="384"/>
                  </a:lnTo>
                  <a:lnTo>
                    <a:pt x="2188" y="384"/>
                  </a:lnTo>
                  <a:lnTo>
                    <a:pt x="2165" y="384"/>
                  </a:lnTo>
                  <a:lnTo>
                    <a:pt x="2165" y="384"/>
                  </a:lnTo>
                  <a:lnTo>
                    <a:pt x="2141" y="384"/>
                  </a:lnTo>
                  <a:lnTo>
                    <a:pt x="2141" y="384"/>
                  </a:lnTo>
                  <a:lnTo>
                    <a:pt x="2130" y="384"/>
                  </a:lnTo>
                  <a:lnTo>
                    <a:pt x="2130" y="384"/>
                  </a:lnTo>
                  <a:lnTo>
                    <a:pt x="2125" y="384"/>
                  </a:lnTo>
                  <a:lnTo>
                    <a:pt x="2118" y="384"/>
                  </a:lnTo>
                  <a:lnTo>
                    <a:pt x="2118" y="384"/>
                  </a:lnTo>
                  <a:lnTo>
                    <a:pt x="2118" y="391"/>
                  </a:lnTo>
                  <a:lnTo>
                    <a:pt x="2118" y="396"/>
                  </a:lnTo>
                  <a:lnTo>
                    <a:pt x="2118" y="396"/>
                  </a:lnTo>
                  <a:lnTo>
                    <a:pt x="2113" y="396"/>
                  </a:lnTo>
                  <a:lnTo>
                    <a:pt x="2106" y="396"/>
                  </a:lnTo>
                  <a:lnTo>
                    <a:pt x="2106" y="396"/>
                  </a:lnTo>
                  <a:lnTo>
                    <a:pt x="2106" y="408"/>
                  </a:lnTo>
                  <a:lnTo>
                    <a:pt x="2106" y="408"/>
                  </a:lnTo>
                  <a:lnTo>
                    <a:pt x="2106" y="415"/>
                  </a:lnTo>
                  <a:lnTo>
                    <a:pt x="2106" y="419"/>
                  </a:lnTo>
                  <a:lnTo>
                    <a:pt x="2106" y="419"/>
                  </a:lnTo>
                  <a:lnTo>
                    <a:pt x="2106" y="427"/>
                  </a:lnTo>
                  <a:lnTo>
                    <a:pt x="2106" y="431"/>
                  </a:lnTo>
                  <a:lnTo>
                    <a:pt x="2106" y="431"/>
                  </a:lnTo>
                  <a:lnTo>
                    <a:pt x="2101" y="431"/>
                  </a:lnTo>
                  <a:lnTo>
                    <a:pt x="2094" y="431"/>
                  </a:lnTo>
                  <a:lnTo>
                    <a:pt x="2094" y="431"/>
                  </a:lnTo>
                  <a:lnTo>
                    <a:pt x="2094" y="434"/>
                  </a:lnTo>
                  <a:lnTo>
                    <a:pt x="2094" y="436"/>
                  </a:lnTo>
                  <a:lnTo>
                    <a:pt x="2094" y="443"/>
                  </a:lnTo>
                  <a:lnTo>
                    <a:pt x="2094" y="443"/>
                  </a:lnTo>
                  <a:lnTo>
                    <a:pt x="2090" y="443"/>
                  </a:lnTo>
                  <a:lnTo>
                    <a:pt x="2082" y="443"/>
                  </a:lnTo>
                  <a:lnTo>
                    <a:pt x="2082" y="443"/>
                  </a:lnTo>
                  <a:lnTo>
                    <a:pt x="2082" y="448"/>
                  </a:lnTo>
                  <a:lnTo>
                    <a:pt x="2082" y="455"/>
                  </a:lnTo>
                  <a:lnTo>
                    <a:pt x="2082" y="455"/>
                  </a:lnTo>
                  <a:lnTo>
                    <a:pt x="2082" y="467"/>
                  </a:lnTo>
                  <a:lnTo>
                    <a:pt x="2082" y="467"/>
                  </a:lnTo>
                  <a:lnTo>
                    <a:pt x="2082" y="478"/>
                  </a:lnTo>
                  <a:lnTo>
                    <a:pt x="2082" y="478"/>
                  </a:lnTo>
                  <a:lnTo>
                    <a:pt x="2082" y="502"/>
                  </a:lnTo>
                  <a:lnTo>
                    <a:pt x="2082" y="502"/>
                  </a:lnTo>
                  <a:lnTo>
                    <a:pt x="2071" y="502"/>
                  </a:lnTo>
                  <a:lnTo>
                    <a:pt x="2071" y="502"/>
                  </a:lnTo>
                  <a:lnTo>
                    <a:pt x="2071" y="490"/>
                  </a:lnTo>
                  <a:lnTo>
                    <a:pt x="2071" y="490"/>
                  </a:lnTo>
                  <a:lnTo>
                    <a:pt x="2071" y="478"/>
                  </a:lnTo>
                  <a:lnTo>
                    <a:pt x="2071" y="478"/>
                  </a:lnTo>
                  <a:lnTo>
                    <a:pt x="2071" y="467"/>
                  </a:lnTo>
                  <a:lnTo>
                    <a:pt x="2071" y="467"/>
                  </a:lnTo>
                  <a:lnTo>
                    <a:pt x="2071" y="455"/>
                  </a:lnTo>
                  <a:lnTo>
                    <a:pt x="2071" y="455"/>
                  </a:lnTo>
                  <a:lnTo>
                    <a:pt x="2071" y="448"/>
                  </a:lnTo>
                  <a:lnTo>
                    <a:pt x="2071" y="443"/>
                  </a:lnTo>
                  <a:lnTo>
                    <a:pt x="2071" y="443"/>
                  </a:lnTo>
                  <a:lnTo>
                    <a:pt x="2059" y="443"/>
                  </a:lnTo>
                  <a:lnTo>
                    <a:pt x="2059" y="443"/>
                  </a:lnTo>
                  <a:lnTo>
                    <a:pt x="2059" y="448"/>
                  </a:lnTo>
                  <a:lnTo>
                    <a:pt x="2059" y="455"/>
                  </a:lnTo>
                  <a:lnTo>
                    <a:pt x="2059" y="455"/>
                  </a:lnTo>
                  <a:lnTo>
                    <a:pt x="2059" y="478"/>
                  </a:lnTo>
                  <a:lnTo>
                    <a:pt x="2059" y="478"/>
                  </a:lnTo>
                  <a:lnTo>
                    <a:pt x="2059" y="525"/>
                  </a:lnTo>
                  <a:lnTo>
                    <a:pt x="2059" y="525"/>
                  </a:lnTo>
                  <a:lnTo>
                    <a:pt x="2054" y="525"/>
                  </a:lnTo>
                  <a:lnTo>
                    <a:pt x="2047" y="525"/>
                  </a:lnTo>
                  <a:lnTo>
                    <a:pt x="2047" y="525"/>
                  </a:lnTo>
                  <a:lnTo>
                    <a:pt x="2047" y="518"/>
                  </a:lnTo>
                  <a:lnTo>
                    <a:pt x="2047" y="514"/>
                  </a:lnTo>
                  <a:lnTo>
                    <a:pt x="2047" y="514"/>
                  </a:lnTo>
                  <a:lnTo>
                    <a:pt x="2047" y="502"/>
                  </a:lnTo>
                  <a:lnTo>
                    <a:pt x="2047" y="502"/>
                  </a:lnTo>
                  <a:lnTo>
                    <a:pt x="2047" y="495"/>
                  </a:lnTo>
                  <a:lnTo>
                    <a:pt x="2047" y="490"/>
                  </a:lnTo>
                  <a:lnTo>
                    <a:pt x="2047" y="490"/>
                  </a:lnTo>
                  <a:lnTo>
                    <a:pt x="2042" y="490"/>
                  </a:lnTo>
                  <a:lnTo>
                    <a:pt x="2035" y="490"/>
                  </a:lnTo>
                  <a:lnTo>
                    <a:pt x="2035" y="490"/>
                  </a:lnTo>
                  <a:lnTo>
                    <a:pt x="2035" y="483"/>
                  </a:lnTo>
                  <a:lnTo>
                    <a:pt x="2035" y="478"/>
                  </a:lnTo>
                  <a:lnTo>
                    <a:pt x="2035" y="478"/>
                  </a:lnTo>
                  <a:lnTo>
                    <a:pt x="2031" y="478"/>
                  </a:lnTo>
                  <a:lnTo>
                    <a:pt x="2024" y="478"/>
                  </a:lnTo>
                  <a:lnTo>
                    <a:pt x="2024" y="478"/>
                  </a:lnTo>
                  <a:lnTo>
                    <a:pt x="2012" y="478"/>
                  </a:lnTo>
                  <a:lnTo>
                    <a:pt x="2012" y="478"/>
                  </a:lnTo>
                  <a:lnTo>
                    <a:pt x="2005" y="478"/>
                  </a:lnTo>
                  <a:lnTo>
                    <a:pt x="2000" y="478"/>
                  </a:lnTo>
                  <a:lnTo>
                    <a:pt x="2000" y="478"/>
                  </a:lnTo>
                  <a:lnTo>
                    <a:pt x="2000" y="483"/>
                  </a:lnTo>
                  <a:lnTo>
                    <a:pt x="2000" y="490"/>
                  </a:lnTo>
                  <a:lnTo>
                    <a:pt x="2000" y="490"/>
                  </a:lnTo>
                  <a:lnTo>
                    <a:pt x="1998" y="490"/>
                  </a:lnTo>
                  <a:lnTo>
                    <a:pt x="1995" y="490"/>
                  </a:lnTo>
                  <a:lnTo>
                    <a:pt x="1988" y="490"/>
                  </a:lnTo>
                  <a:lnTo>
                    <a:pt x="1988" y="490"/>
                  </a:lnTo>
                  <a:lnTo>
                    <a:pt x="1988" y="396"/>
                  </a:lnTo>
                  <a:lnTo>
                    <a:pt x="1988" y="396"/>
                  </a:lnTo>
                  <a:lnTo>
                    <a:pt x="1988" y="372"/>
                  </a:lnTo>
                  <a:lnTo>
                    <a:pt x="1988" y="372"/>
                  </a:lnTo>
                  <a:lnTo>
                    <a:pt x="1941" y="372"/>
                  </a:lnTo>
                  <a:lnTo>
                    <a:pt x="1941" y="372"/>
                  </a:lnTo>
                  <a:lnTo>
                    <a:pt x="1929" y="372"/>
                  </a:lnTo>
                  <a:lnTo>
                    <a:pt x="1929" y="372"/>
                  </a:lnTo>
                  <a:lnTo>
                    <a:pt x="1922" y="372"/>
                  </a:lnTo>
                  <a:lnTo>
                    <a:pt x="1918" y="372"/>
                  </a:lnTo>
                  <a:lnTo>
                    <a:pt x="1918" y="372"/>
                  </a:lnTo>
                  <a:lnTo>
                    <a:pt x="1918" y="368"/>
                  </a:lnTo>
                  <a:lnTo>
                    <a:pt x="1918" y="361"/>
                  </a:lnTo>
                  <a:lnTo>
                    <a:pt x="1918" y="361"/>
                  </a:lnTo>
                  <a:lnTo>
                    <a:pt x="1906" y="361"/>
                  </a:lnTo>
                  <a:lnTo>
                    <a:pt x="1906" y="361"/>
                  </a:lnTo>
                  <a:lnTo>
                    <a:pt x="1894" y="361"/>
                  </a:lnTo>
                  <a:lnTo>
                    <a:pt x="1894" y="361"/>
                  </a:lnTo>
                  <a:lnTo>
                    <a:pt x="1847" y="361"/>
                  </a:lnTo>
                  <a:lnTo>
                    <a:pt x="1847" y="361"/>
                  </a:lnTo>
                  <a:lnTo>
                    <a:pt x="1823" y="361"/>
                  </a:lnTo>
                  <a:lnTo>
                    <a:pt x="1823" y="361"/>
                  </a:lnTo>
                  <a:lnTo>
                    <a:pt x="1812" y="361"/>
                  </a:lnTo>
                  <a:lnTo>
                    <a:pt x="1812" y="361"/>
                  </a:lnTo>
                  <a:lnTo>
                    <a:pt x="1786" y="361"/>
                  </a:lnTo>
                  <a:lnTo>
                    <a:pt x="1786" y="361"/>
                  </a:lnTo>
                  <a:lnTo>
                    <a:pt x="1774" y="361"/>
                  </a:lnTo>
                  <a:lnTo>
                    <a:pt x="1774" y="361"/>
                  </a:lnTo>
                  <a:lnTo>
                    <a:pt x="1750" y="361"/>
                  </a:lnTo>
                  <a:lnTo>
                    <a:pt x="1750" y="361"/>
                  </a:lnTo>
                  <a:lnTo>
                    <a:pt x="1738" y="361"/>
                  </a:lnTo>
                  <a:lnTo>
                    <a:pt x="1738" y="361"/>
                  </a:lnTo>
                  <a:lnTo>
                    <a:pt x="1715" y="361"/>
                  </a:lnTo>
                  <a:lnTo>
                    <a:pt x="1715" y="361"/>
                  </a:lnTo>
                  <a:lnTo>
                    <a:pt x="1691" y="361"/>
                  </a:lnTo>
                  <a:lnTo>
                    <a:pt x="1691" y="361"/>
                  </a:lnTo>
                  <a:lnTo>
                    <a:pt x="1680" y="361"/>
                  </a:lnTo>
                  <a:lnTo>
                    <a:pt x="1680" y="361"/>
                  </a:lnTo>
                  <a:lnTo>
                    <a:pt x="1675" y="361"/>
                  </a:lnTo>
                  <a:lnTo>
                    <a:pt x="1668" y="361"/>
                  </a:lnTo>
                  <a:lnTo>
                    <a:pt x="1668" y="361"/>
                  </a:lnTo>
                  <a:lnTo>
                    <a:pt x="1668" y="356"/>
                  </a:lnTo>
                  <a:lnTo>
                    <a:pt x="1668" y="349"/>
                  </a:lnTo>
                  <a:lnTo>
                    <a:pt x="1668" y="349"/>
                  </a:lnTo>
                  <a:lnTo>
                    <a:pt x="1663" y="349"/>
                  </a:lnTo>
                  <a:lnTo>
                    <a:pt x="1656" y="349"/>
                  </a:lnTo>
                  <a:lnTo>
                    <a:pt x="1656" y="349"/>
                  </a:lnTo>
                  <a:lnTo>
                    <a:pt x="1644" y="349"/>
                  </a:lnTo>
                  <a:lnTo>
                    <a:pt x="1644" y="349"/>
                  </a:lnTo>
                  <a:lnTo>
                    <a:pt x="1632" y="349"/>
                  </a:lnTo>
                  <a:lnTo>
                    <a:pt x="1632" y="349"/>
                  </a:lnTo>
                  <a:lnTo>
                    <a:pt x="1609" y="349"/>
                  </a:lnTo>
                  <a:lnTo>
                    <a:pt x="1609" y="349"/>
                  </a:lnTo>
                  <a:lnTo>
                    <a:pt x="1585" y="349"/>
                  </a:lnTo>
                  <a:lnTo>
                    <a:pt x="1585" y="349"/>
                  </a:lnTo>
                  <a:lnTo>
                    <a:pt x="1578" y="349"/>
                  </a:lnTo>
                  <a:lnTo>
                    <a:pt x="1574" y="349"/>
                  </a:lnTo>
                  <a:lnTo>
                    <a:pt x="1574" y="349"/>
                  </a:lnTo>
                  <a:lnTo>
                    <a:pt x="1574" y="351"/>
                  </a:lnTo>
                  <a:lnTo>
                    <a:pt x="1574" y="356"/>
                  </a:lnTo>
                  <a:lnTo>
                    <a:pt x="1574" y="361"/>
                  </a:lnTo>
                  <a:lnTo>
                    <a:pt x="1574" y="361"/>
                  </a:lnTo>
                  <a:lnTo>
                    <a:pt x="1574" y="363"/>
                  </a:lnTo>
                  <a:lnTo>
                    <a:pt x="1574" y="368"/>
                  </a:lnTo>
                  <a:lnTo>
                    <a:pt x="1574" y="370"/>
                  </a:lnTo>
                  <a:lnTo>
                    <a:pt x="1574" y="372"/>
                  </a:lnTo>
                  <a:lnTo>
                    <a:pt x="1574" y="372"/>
                  </a:lnTo>
                  <a:lnTo>
                    <a:pt x="1562" y="372"/>
                  </a:lnTo>
                  <a:lnTo>
                    <a:pt x="1562" y="372"/>
                  </a:lnTo>
                  <a:lnTo>
                    <a:pt x="1550" y="372"/>
                  </a:lnTo>
                  <a:lnTo>
                    <a:pt x="1550" y="372"/>
                  </a:lnTo>
                  <a:lnTo>
                    <a:pt x="1526" y="372"/>
                  </a:lnTo>
                  <a:lnTo>
                    <a:pt x="1526" y="372"/>
                  </a:lnTo>
                  <a:lnTo>
                    <a:pt x="1526" y="379"/>
                  </a:lnTo>
                  <a:lnTo>
                    <a:pt x="1526" y="382"/>
                  </a:lnTo>
                  <a:lnTo>
                    <a:pt x="1526" y="384"/>
                  </a:lnTo>
                  <a:lnTo>
                    <a:pt x="1526" y="384"/>
                  </a:lnTo>
                  <a:lnTo>
                    <a:pt x="1519" y="384"/>
                  </a:lnTo>
                  <a:lnTo>
                    <a:pt x="1515" y="384"/>
                  </a:lnTo>
                  <a:lnTo>
                    <a:pt x="1515" y="384"/>
                  </a:lnTo>
                  <a:lnTo>
                    <a:pt x="1503" y="384"/>
                  </a:lnTo>
                  <a:lnTo>
                    <a:pt x="1503" y="384"/>
                  </a:lnTo>
                  <a:lnTo>
                    <a:pt x="1491" y="384"/>
                  </a:lnTo>
                  <a:lnTo>
                    <a:pt x="1491" y="384"/>
                  </a:lnTo>
                  <a:lnTo>
                    <a:pt x="1468" y="384"/>
                  </a:lnTo>
                  <a:lnTo>
                    <a:pt x="1468" y="384"/>
                  </a:lnTo>
                  <a:lnTo>
                    <a:pt x="1420" y="384"/>
                  </a:lnTo>
                  <a:lnTo>
                    <a:pt x="1420" y="384"/>
                  </a:lnTo>
                  <a:lnTo>
                    <a:pt x="1420" y="431"/>
                  </a:lnTo>
                  <a:lnTo>
                    <a:pt x="1420" y="431"/>
                  </a:lnTo>
                  <a:lnTo>
                    <a:pt x="1371" y="431"/>
                  </a:lnTo>
                  <a:lnTo>
                    <a:pt x="1371" y="431"/>
                  </a:lnTo>
                  <a:lnTo>
                    <a:pt x="1324" y="431"/>
                  </a:lnTo>
                  <a:lnTo>
                    <a:pt x="1324" y="431"/>
                  </a:lnTo>
                  <a:lnTo>
                    <a:pt x="1312" y="431"/>
                  </a:lnTo>
                  <a:lnTo>
                    <a:pt x="1312" y="431"/>
                  </a:lnTo>
                  <a:lnTo>
                    <a:pt x="1288" y="431"/>
                  </a:lnTo>
                  <a:lnTo>
                    <a:pt x="1288" y="431"/>
                  </a:lnTo>
                  <a:lnTo>
                    <a:pt x="1277" y="431"/>
                  </a:lnTo>
                  <a:lnTo>
                    <a:pt x="1277" y="431"/>
                  </a:lnTo>
                  <a:lnTo>
                    <a:pt x="1253" y="431"/>
                  </a:lnTo>
                  <a:lnTo>
                    <a:pt x="1253" y="431"/>
                  </a:lnTo>
                  <a:lnTo>
                    <a:pt x="1253" y="384"/>
                  </a:lnTo>
                  <a:lnTo>
                    <a:pt x="1253" y="384"/>
                  </a:lnTo>
                  <a:lnTo>
                    <a:pt x="1253" y="337"/>
                  </a:lnTo>
                  <a:lnTo>
                    <a:pt x="1253" y="337"/>
                  </a:lnTo>
                  <a:lnTo>
                    <a:pt x="1253" y="313"/>
                  </a:lnTo>
                  <a:lnTo>
                    <a:pt x="1253" y="313"/>
                  </a:lnTo>
                  <a:lnTo>
                    <a:pt x="1253" y="292"/>
                  </a:lnTo>
                  <a:lnTo>
                    <a:pt x="1253" y="292"/>
                  </a:lnTo>
                  <a:lnTo>
                    <a:pt x="1253" y="280"/>
                  </a:lnTo>
                  <a:lnTo>
                    <a:pt x="1253" y="280"/>
                  </a:lnTo>
                  <a:lnTo>
                    <a:pt x="1253" y="257"/>
                  </a:lnTo>
                  <a:lnTo>
                    <a:pt x="1253" y="257"/>
                  </a:lnTo>
                  <a:lnTo>
                    <a:pt x="1253" y="233"/>
                  </a:lnTo>
                  <a:lnTo>
                    <a:pt x="1253" y="233"/>
                  </a:lnTo>
                  <a:lnTo>
                    <a:pt x="1253" y="186"/>
                  </a:lnTo>
                  <a:lnTo>
                    <a:pt x="1253" y="186"/>
                  </a:lnTo>
                  <a:lnTo>
                    <a:pt x="1253" y="174"/>
                  </a:lnTo>
                  <a:lnTo>
                    <a:pt x="1253" y="174"/>
                  </a:lnTo>
                  <a:lnTo>
                    <a:pt x="1253" y="151"/>
                  </a:lnTo>
                  <a:lnTo>
                    <a:pt x="1253" y="151"/>
                  </a:lnTo>
                  <a:lnTo>
                    <a:pt x="1253" y="104"/>
                  </a:lnTo>
                  <a:lnTo>
                    <a:pt x="1253" y="104"/>
                  </a:lnTo>
                  <a:lnTo>
                    <a:pt x="1241" y="104"/>
                  </a:lnTo>
                  <a:lnTo>
                    <a:pt x="1241" y="104"/>
                  </a:lnTo>
                  <a:lnTo>
                    <a:pt x="1218" y="104"/>
                  </a:lnTo>
                  <a:lnTo>
                    <a:pt x="1218" y="104"/>
                  </a:lnTo>
                  <a:lnTo>
                    <a:pt x="1206" y="104"/>
                  </a:lnTo>
                  <a:lnTo>
                    <a:pt x="1206" y="104"/>
                  </a:lnTo>
                  <a:lnTo>
                    <a:pt x="1182" y="104"/>
                  </a:lnTo>
                  <a:lnTo>
                    <a:pt x="1182" y="104"/>
                  </a:lnTo>
                  <a:lnTo>
                    <a:pt x="1171" y="104"/>
                  </a:lnTo>
                  <a:lnTo>
                    <a:pt x="1171" y="104"/>
                  </a:lnTo>
                  <a:lnTo>
                    <a:pt x="1147" y="104"/>
                  </a:lnTo>
                  <a:lnTo>
                    <a:pt x="1147" y="104"/>
                  </a:lnTo>
                  <a:lnTo>
                    <a:pt x="1100" y="104"/>
                  </a:lnTo>
                  <a:lnTo>
                    <a:pt x="1100" y="104"/>
                  </a:lnTo>
                  <a:lnTo>
                    <a:pt x="1100" y="115"/>
                  </a:lnTo>
                  <a:lnTo>
                    <a:pt x="1100" y="115"/>
                  </a:lnTo>
                  <a:lnTo>
                    <a:pt x="1100" y="139"/>
                  </a:lnTo>
                  <a:lnTo>
                    <a:pt x="1100" y="139"/>
                  </a:lnTo>
                  <a:lnTo>
                    <a:pt x="1100" y="186"/>
                  </a:lnTo>
                  <a:lnTo>
                    <a:pt x="1100" y="186"/>
                  </a:lnTo>
                  <a:lnTo>
                    <a:pt x="1100" y="233"/>
                  </a:lnTo>
                  <a:lnTo>
                    <a:pt x="1100" y="233"/>
                  </a:lnTo>
                  <a:lnTo>
                    <a:pt x="1100" y="257"/>
                  </a:lnTo>
                  <a:lnTo>
                    <a:pt x="1100" y="257"/>
                  </a:lnTo>
                  <a:lnTo>
                    <a:pt x="1100" y="269"/>
                  </a:lnTo>
                  <a:lnTo>
                    <a:pt x="1100" y="269"/>
                  </a:lnTo>
                  <a:lnTo>
                    <a:pt x="1100" y="292"/>
                  </a:lnTo>
                  <a:lnTo>
                    <a:pt x="1100" y="292"/>
                  </a:lnTo>
                  <a:lnTo>
                    <a:pt x="1100" y="313"/>
                  </a:lnTo>
                  <a:lnTo>
                    <a:pt x="1100" y="313"/>
                  </a:lnTo>
                  <a:lnTo>
                    <a:pt x="1100" y="361"/>
                  </a:lnTo>
                  <a:lnTo>
                    <a:pt x="1100" y="361"/>
                  </a:lnTo>
                  <a:lnTo>
                    <a:pt x="1100" y="408"/>
                  </a:lnTo>
                  <a:lnTo>
                    <a:pt x="1100" y="408"/>
                  </a:lnTo>
                  <a:lnTo>
                    <a:pt x="1100" y="419"/>
                  </a:lnTo>
                  <a:lnTo>
                    <a:pt x="1100" y="419"/>
                  </a:lnTo>
                  <a:lnTo>
                    <a:pt x="1100" y="443"/>
                  </a:lnTo>
                  <a:lnTo>
                    <a:pt x="1100" y="443"/>
                  </a:lnTo>
                  <a:lnTo>
                    <a:pt x="1088" y="443"/>
                  </a:lnTo>
                  <a:lnTo>
                    <a:pt x="1088" y="443"/>
                  </a:lnTo>
                  <a:lnTo>
                    <a:pt x="1065" y="443"/>
                  </a:lnTo>
                  <a:lnTo>
                    <a:pt x="1065" y="443"/>
                  </a:lnTo>
                  <a:lnTo>
                    <a:pt x="1053" y="443"/>
                  </a:lnTo>
                  <a:lnTo>
                    <a:pt x="1053" y="443"/>
                  </a:lnTo>
                  <a:lnTo>
                    <a:pt x="1029" y="443"/>
                  </a:lnTo>
                  <a:lnTo>
                    <a:pt x="1029" y="443"/>
                  </a:lnTo>
                  <a:lnTo>
                    <a:pt x="1017" y="443"/>
                  </a:lnTo>
                  <a:lnTo>
                    <a:pt x="1017" y="443"/>
                  </a:lnTo>
                  <a:lnTo>
                    <a:pt x="994" y="443"/>
                  </a:lnTo>
                  <a:lnTo>
                    <a:pt x="994" y="443"/>
                  </a:lnTo>
                  <a:lnTo>
                    <a:pt x="968" y="443"/>
                  </a:lnTo>
                  <a:lnTo>
                    <a:pt x="968" y="443"/>
                  </a:lnTo>
                  <a:lnTo>
                    <a:pt x="944" y="443"/>
                  </a:lnTo>
                  <a:lnTo>
                    <a:pt x="944" y="443"/>
                  </a:lnTo>
                  <a:lnTo>
                    <a:pt x="897" y="443"/>
                  </a:lnTo>
                  <a:lnTo>
                    <a:pt x="897" y="443"/>
                  </a:lnTo>
                  <a:lnTo>
                    <a:pt x="850" y="443"/>
                  </a:lnTo>
                  <a:lnTo>
                    <a:pt x="850" y="443"/>
                  </a:lnTo>
                  <a:lnTo>
                    <a:pt x="850" y="431"/>
                  </a:lnTo>
                  <a:lnTo>
                    <a:pt x="850" y="431"/>
                  </a:lnTo>
                  <a:lnTo>
                    <a:pt x="850" y="384"/>
                  </a:lnTo>
                  <a:lnTo>
                    <a:pt x="850" y="384"/>
                  </a:lnTo>
                  <a:lnTo>
                    <a:pt x="850" y="337"/>
                  </a:lnTo>
                  <a:lnTo>
                    <a:pt x="850" y="337"/>
                  </a:lnTo>
                  <a:lnTo>
                    <a:pt x="850" y="245"/>
                  </a:lnTo>
                  <a:lnTo>
                    <a:pt x="850" y="245"/>
                  </a:lnTo>
                  <a:lnTo>
                    <a:pt x="827" y="245"/>
                  </a:lnTo>
                  <a:lnTo>
                    <a:pt x="827" y="245"/>
                  </a:lnTo>
                  <a:lnTo>
                    <a:pt x="815" y="245"/>
                  </a:lnTo>
                  <a:lnTo>
                    <a:pt x="815" y="245"/>
                  </a:lnTo>
                  <a:lnTo>
                    <a:pt x="791" y="245"/>
                  </a:lnTo>
                  <a:lnTo>
                    <a:pt x="791" y="245"/>
                  </a:lnTo>
                  <a:lnTo>
                    <a:pt x="744" y="245"/>
                  </a:lnTo>
                  <a:lnTo>
                    <a:pt x="744" y="245"/>
                  </a:lnTo>
                  <a:lnTo>
                    <a:pt x="744" y="269"/>
                  </a:lnTo>
                  <a:lnTo>
                    <a:pt x="744" y="269"/>
                  </a:lnTo>
                  <a:lnTo>
                    <a:pt x="744" y="280"/>
                  </a:lnTo>
                  <a:lnTo>
                    <a:pt x="744" y="280"/>
                  </a:lnTo>
                  <a:lnTo>
                    <a:pt x="744" y="302"/>
                  </a:lnTo>
                  <a:lnTo>
                    <a:pt x="744" y="302"/>
                  </a:lnTo>
                  <a:lnTo>
                    <a:pt x="744" y="325"/>
                  </a:lnTo>
                  <a:lnTo>
                    <a:pt x="744" y="325"/>
                  </a:lnTo>
                  <a:lnTo>
                    <a:pt x="744" y="337"/>
                  </a:lnTo>
                  <a:lnTo>
                    <a:pt x="744" y="337"/>
                  </a:lnTo>
                  <a:lnTo>
                    <a:pt x="744" y="361"/>
                  </a:lnTo>
                  <a:lnTo>
                    <a:pt x="744" y="361"/>
                  </a:lnTo>
                  <a:lnTo>
                    <a:pt x="744" y="372"/>
                  </a:lnTo>
                  <a:lnTo>
                    <a:pt x="744" y="372"/>
                  </a:lnTo>
                  <a:lnTo>
                    <a:pt x="744" y="396"/>
                  </a:lnTo>
                  <a:lnTo>
                    <a:pt x="744" y="396"/>
                  </a:lnTo>
                  <a:lnTo>
                    <a:pt x="744" y="419"/>
                  </a:lnTo>
                  <a:lnTo>
                    <a:pt x="744" y="419"/>
                  </a:lnTo>
                  <a:lnTo>
                    <a:pt x="744" y="467"/>
                  </a:lnTo>
                  <a:lnTo>
                    <a:pt x="744" y="467"/>
                  </a:lnTo>
                  <a:lnTo>
                    <a:pt x="744" y="490"/>
                  </a:lnTo>
                  <a:lnTo>
                    <a:pt x="744" y="490"/>
                  </a:lnTo>
                  <a:lnTo>
                    <a:pt x="732" y="490"/>
                  </a:lnTo>
                  <a:lnTo>
                    <a:pt x="732" y="490"/>
                  </a:lnTo>
                  <a:lnTo>
                    <a:pt x="709" y="490"/>
                  </a:lnTo>
                  <a:lnTo>
                    <a:pt x="709" y="490"/>
                  </a:lnTo>
                  <a:lnTo>
                    <a:pt x="709" y="495"/>
                  </a:lnTo>
                  <a:lnTo>
                    <a:pt x="709" y="500"/>
                  </a:lnTo>
                  <a:lnTo>
                    <a:pt x="709" y="502"/>
                  </a:lnTo>
                  <a:lnTo>
                    <a:pt x="709" y="502"/>
                  </a:lnTo>
                  <a:lnTo>
                    <a:pt x="702" y="502"/>
                  </a:lnTo>
                  <a:lnTo>
                    <a:pt x="697" y="502"/>
                  </a:lnTo>
                  <a:lnTo>
                    <a:pt x="697" y="502"/>
                  </a:lnTo>
                  <a:lnTo>
                    <a:pt x="685" y="502"/>
                  </a:lnTo>
                  <a:lnTo>
                    <a:pt x="685" y="502"/>
                  </a:lnTo>
                  <a:lnTo>
                    <a:pt x="673" y="502"/>
                  </a:lnTo>
                  <a:lnTo>
                    <a:pt x="673" y="502"/>
                  </a:lnTo>
                  <a:lnTo>
                    <a:pt x="650" y="502"/>
                  </a:lnTo>
                  <a:lnTo>
                    <a:pt x="650" y="502"/>
                  </a:lnTo>
                  <a:lnTo>
                    <a:pt x="650" y="507"/>
                  </a:lnTo>
                  <a:lnTo>
                    <a:pt x="650" y="511"/>
                  </a:lnTo>
                  <a:lnTo>
                    <a:pt x="650" y="514"/>
                  </a:lnTo>
                  <a:lnTo>
                    <a:pt x="650" y="514"/>
                  </a:lnTo>
                  <a:lnTo>
                    <a:pt x="648" y="514"/>
                  </a:lnTo>
                  <a:lnTo>
                    <a:pt x="643" y="514"/>
                  </a:lnTo>
                  <a:lnTo>
                    <a:pt x="640" y="511"/>
                  </a:lnTo>
                  <a:lnTo>
                    <a:pt x="638" y="514"/>
                  </a:lnTo>
                  <a:lnTo>
                    <a:pt x="638" y="514"/>
                  </a:lnTo>
                  <a:lnTo>
                    <a:pt x="636" y="516"/>
                  </a:lnTo>
                  <a:lnTo>
                    <a:pt x="638" y="518"/>
                  </a:lnTo>
                  <a:lnTo>
                    <a:pt x="638" y="523"/>
                  </a:lnTo>
                  <a:lnTo>
                    <a:pt x="638" y="525"/>
                  </a:lnTo>
                  <a:lnTo>
                    <a:pt x="638" y="525"/>
                  </a:lnTo>
                  <a:lnTo>
                    <a:pt x="636" y="525"/>
                  </a:lnTo>
                  <a:lnTo>
                    <a:pt x="631" y="525"/>
                  </a:lnTo>
                  <a:lnTo>
                    <a:pt x="626" y="525"/>
                  </a:lnTo>
                  <a:lnTo>
                    <a:pt x="626" y="525"/>
                  </a:lnTo>
                  <a:lnTo>
                    <a:pt x="603" y="525"/>
                  </a:lnTo>
                  <a:lnTo>
                    <a:pt x="603" y="525"/>
                  </a:lnTo>
                  <a:lnTo>
                    <a:pt x="603" y="502"/>
                  </a:lnTo>
                  <a:lnTo>
                    <a:pt x="603" y="502"/>
                  </a:lnTo>
                  <a:lnTo>
                    <a:pt x="603" y="490"/>
                  </a:lnTo>
                  <a:lnTo>
                    <a:pt x="603" y="490"/>
                  </a:lnTo>
                  <a:lnTo>
                    <a:pt x="603" y="467"/>
                  </a:lnTo>
                  <a:lnTo>
                    <a:pt x="603" y="467"/>
                  </a:lnTo>
                  <a:lnTo>
                    <a:pt x="603" y="455"/>
                  </a:lnTo>
                  <a:lnTo>
                    <a:pt x="603" y="455"/>
                  </a:lnTo>
                  <a:lnTo>
                    <a:pt x="603" y="431"/>
                  </a:lnTo>
                  <a:lnTo>
                    <a:pt x="603" y="431"/>
                  </a:lnTo>
                  <a:lnTo>
                    <a:pt x="603" y="408"/>
                  </a:lnTo>
                  <a:lnTo>
                    <a:pt x="603" y="408"/>
                  </a:lnTo>
                  <a:lnTo>
                    <a:pt x="577" y="408"/>
                  </a:lnTo>
                  <a:lnTo>
                    <a:pt x="577" y="408"/>
                  </a:lnTo>
                  <a:lnTo>
                    <a:pt x="579" y="401"/>
                  </a:lnTo>
                  <a:lnTo>
                    <a:pt x="579" y="398"/>
                  </a:lnTo>
                  <a:lnTo>
                    <a:pt x="577" y="396"/>
                  </a:lnTo>
                  <a:lnTo>
                    <a:pt x="577" y="396"/>
                  </a:lnTo>
                  <a:lnTo>
                    <a:pt x="575" y="396"/>
                  </a:lnTo>
                  <a:lnTo>
                    <a:pt x="572" y="396"/>
                  </a:lnTo>
                  <a:lnTo>
                    <a:pt x="565" y="396"/>
                  </a:lnTo>
                  <a:lnTo>
                    <a:pt x="565" y="396"/>
                  </a:lnTo>
                  <a:lnTo>
                    <a:pt x="565" y="384"/>
                  </a:lnTo>
                  <a:lnTo>
                    <a:pt x="565" y="384"/>
                  </a:lnTo>
                  <a:lnTo>
                    <a:pt x="565" y="361"/>
                  </a:lnTo>
                  <a:lnTo>
                    <a:pt x="565" y="361"/>
                  </a:lnTo>
                  <a:lnTo>
                    <a:pt x="542" y="361"/>
                  </a:lnTo>
                  <a:lnTo>
                    <a:pt x="542" y="361"/>
                  </a:lnTo>
                  <a:lnTo>
                    <a:pt x="542" y="408"/>
                  </a:lnTo>
                  <a:lnTo>
                    <a:pt x="542" y="408"/>
                  </a:lnTo>
                  <a:lnTo>
                    <a:pt x="530" y="408"/>
                  </a:lnTo>
                  <a:lnTo>
                    <a:pt x="530" y="408"/>
                  </a:lnTo>
                  <a:lnTo>
                    <a:pt x="518" y="408"/>
                  </a:lnTo>
                  <a:lnTo>
                    <a:pt x="518" y="408"/>
                  </a:lnTo>
                  <a:lnTo>
                    <a:pt x="513" y="408"/>
                  </a:lnTo>
                  <a:lnTo>
                    <a:pt x="506" y="408"/>
                  </a:lnTo>
                  <a:lnTo>
                    <a:pt x="506" y="408"/>
                  </a:lnTo>
                  <a:lnTo>
                    <a:pt x="501" y="408"/>
                  </a:lnTo>
                  <a:lnTo>
                    <a:pt x="494" y="408"/>
                  </a:lnTo>
                  <a:lnTo>
                    <a:pt x="494" y="408"/>
                  </a:lnTo>
                  <a:lnTo>
                    <a:pt x="494" y="410"/>
                  </a:lnTo>
                  <a:lnTo>
                    <a:pt x="494" y="412"/>
                  </a:lnTo>
                  <a:lnTo>
                    <a:pt x="494" y="419"/>
                  </a:lnTo>
                  <a:lnTo>
                    <a:pt x="494" y="419"/>
                  </a:lnTo>
                  <a:lnTo>
                    <a:pt x="494" y="427"/>
                  </a:lnTo>
                  <a:lnTo>
                    <a:pt x="497" y="429"/>
                  </a:lnTo>
                  <a:lnTo>
                    <a:pt x="494" y="431"/>
                  </a:lnTo>
                  <a:lnTo>
                    <a:pt x="494" y="431"/>
                  </a:lnTo>
                  <a:lnTo>
                    <a:pt x="490" y="431"/>
                  </a:lnTo>
                  <a:lnTo>
                    <a:pt x="483" y="431"/>
                  </a:lnTo>
                  <a:lnTo>
                    <a:pt x="483" y="431"/>
                  </a:lnTo>
                  <a:lnTo>
                    <a:pt x="483" y="443"/>
                  </a:lnTo>
                  <a:lnTo>
                    <a:pt x="483" y="443"/>
                  </a:lnTo>
                  <a:lnTo>
                    <a:pt x="483" y="467"/>
                  </a:lnTo>
                  <a:lnTo>
                    <a:pt x="483" y="467"/>
                  </a:lnTo>
                  <a:lnTo>
                    <a:pt x="483" y="514"/>
                  </a:lnTo>
                  <a:lnTo>
                    <a:pt x="483" y="514"/>
                  </a:lnTo>
                  <a:lnTo>
                    <a:pt x="483" y="535"/>
                  </a:lnTo>
                  <a:lnTo>
                    <a:pt x="483" y="535"/>
                  </a:lnTo>
                  <a:lnTo>
                    <a:pt x="483" y="547"/>
                  </a:lnTo>
                  <a:lnTo>
                    <a:pt x="483" y="547"/>
                  </a:lnTo>
                  <a:lnTo>
                    <a:pt x="483" y="570"/>
                  </a:lnTo>
                  <a:lnTo>
                    <a:pt x="483" y="570"/>
                  </a:lnTo>
                  <a:lnTo>
                    <a:pt x="478" y="570"/>
                  </a:lnTo>
                  <a:lnTo>
                    <a:pt x="471" y="570"/>
                  </a:lnTo>
                  <a:lnTo>
                    <a:pt x="471" y="570"/>
                  </a:lnTo>
                  <a:lnTo>
                    <a:pt x="466" y="570"/>
                  </a:lnTo>
                  <a:lnTo>
                    <a:pt x="459" y="570"/>
                  </a:lnTo>
                  <a:lnTo>
                    <a:pt x="459" y="570"/>
                  </a:lnTo>
                  <a:lnTo>
                    <a:pt x="459" y="566"/>
                  </a:lnTo>
                  <a:lnTo>
                    <a:pt x="459" y="558"/>
                  </a:lnTo>
                  <a:lnTo>
                    <a:pt x="459" y="558"/>
                  </a:lnTo>
                  <a:lnTo>
                    <a:pt x="459" y="547"/>
                  </a:lnTo>
                  <a:lnTo>
                    <a:pt x="459" y="547"/>
                  </a:lnTo>
                  <a:lnTo>
                    <a:pt x="459" y="525"/>
                  </a:lnTo>
                  <a:lnTo>
                    <a:pt x="459" y="525"/>
                  </a:lnTo>
                  <a:lnTo>
                    <a:pt x="412" y="525"/>
                  </a:lnTo>
                  <a:lnTo>
                    <a:pt x="412" y="525"/>
                  </a:lnTo>
                  <a:lnTo>
                    <a:pt x="388" y="525"/>
                  </a:lnTo>
                  <a:lnTo>
                    <a:pt x="388" y="525"/>
                  </a:lnTo>
                  <a:lnTo>
                    <a:pt x="377" y="525"/>
                  </a:lnTo>
                  <a:lnTo>
                    <a:pt x="377" y="525"/>
                  </a:lnTo>
                  <a:lnTo>
                    <a:pt x="370" y="525"/>
                  </a:lnTo>
                  <a:lnTo>
                    <a:pt x="365" y="525"/>
                  </a:lnTo>
                  <a:lnTo>
                    <a:pt x="365" y="525"/>
                  </a:lnTo>
                  <a:lnTo>
                    <a:pt x="365" y="518"/>
                  </a:lnTo>
                  <a:lnTo>
                    <a:pt x="365" y="514"/>
                  </a:lnTo>
                  <a:lnTo>
                    <a:pt x="365" y="514"/>
                  </a:lnTo>
                  <a:lnTo>
                    <a:pt x="362" y="511"/>
                  </a:lnTo>
                  <a:lnTo>
                    <a:pt x="358" y="514"/>
                  </a:lnTo>
                  <a:lnTo>
                    <a:pt x="355" y="514"/>
                  </a:lnTo>
                  <a:lnTo>
                    <a:pt x="353" y="514"/>
                  </a:lnTo>
                  <a:lnTo>
                    <a:pt x="353" y="514"/>
                  </a:lnTo>
                  <a:lnTo>
                    <a:pt x="353" y="511"/>
                  </a:lnTo>
                  <a:lnTo>
                    <a:pt x="353" y="507"/>
                  </a:lnTo>
                  <a:lnTo>
                    <a:pt x="353" y="504"/>
                  </a:lnTo>
                  <a:lnTo>
                    <a:pt x="353" y="502"/>
                  </a:lnTo>
                  <a:lnTo>
                    <a:pt x="353" y="502"/>
                  </a:lnTo>
                  <a:lnTo>
                    <a:pt x="351" y="500"/>
                  </a:lnTo>
                  <a:lnTo>
                    <a:pt x="346" y="502"/>
                  </a:lnTo>
                  <a:lnTo>
                    <a:pt x="344" y="502"/>
                  </a:lnTo>
                  <a:lnTo>
                    <a:pt x="341" y="502"/>
                  </a:lnTo>
                  <a:lnTo>
                    <a:pt x="341" y="502"/>
                  </a:lnTo>
                  <a:lnTo>
                    <a:pt x="341" y="500"/>
                  </a:lnTo>
                  <a:lnTo>
                    <a:pt x="341" y="495"/>
                  </a:lnTo>
                  <a:lnTo>
                    <a:pt x="341" y="492"/>
                  </a:lnTo>
                  <a:lnTo>
                    <a:pt x="341" y="490"/>
                  </a:lnTo>
                  <a:lnTo>
                    <a:pt x="341" y="490"/>
                  </a:lnTo>
                  <a:lnTo>
                    <a:pt x="339" y="488"/>
                  </a:lnTo>
                  <a:lnTo>
                    <a:pt x="334" y="490"/>
                  </a:lnTo>
                  <a:lnTo>
                    <a:pt x="332" y="490"/>
                  </a:lnTo>
                  <a:lnTo>
                    <a:pt x="329" y="490"/>
                  </a:lnTo>
                  <a:lnTo>
                    <a:pt x="329" y="490"/>
                  </a:lnTo>
                  <a:lnTo>
                    <a:pt x="329" y="488"/>
                  </a:lnTo>
                  <a:lnTo>
                    <a:pt x="329" y="483"/>
                  </a:lnTo>
                  <a:lnTo>
                    <a:pt x="329" y="481"/>
                  </a:lnTo>
                  <a:lnTo>
                    <a:pt x="329" y="478"/>
                  </a:lnTo>
                  <a:lnTo>
                    <a:pt x="329" y="478"/>
                  </a:lnTo>
                  <a:lnTo>
                    <a:pt x="322" y="478"/>
                  </a:lnTo>
                  <a:lnTo>
                    <a:pt x="318" y="478"/>
                  </a:lnTo>
                  <a:lnTo>
                    <a:pt x="318" y="478"/>
                  </a:lnTo>
                  <a:lnTo>
                    <a:pt x="318" y="467"/>
                  </a:lnTo>
                  <a:lnTo>
                    <a:pt x="318" y="467"/>
                  </a:lnTo>
                  <a:lnTo>
                    <a:pt x="318" y="419"/>
                  </a:lnTo>
                  <a:lnTo>
                    <a:pt x="318" y="419"/>
                  </a:lnTo>
                  <a:lnTo>
                    <a:pt x="318" y="372"/>
                  </a:lnTo>
                  <a:lnTo>
                    <a:pt x="318" y="372"/>
                  </a:lnTo>
                  <a:lnTo>
                    <a:pt x="318" y="361"/>
                  </a:lnTo>
                  <a:lnTo>
                    <a:pt x="318" y="361"/>
                  </a:lnTo>
                  <a:lnTo>
                    <a:pt x="318" y="337"/>
                  </a:lnTo>
                  <a:lnTo>
                    <a:pt x="318" y="337"/>
                  </a:lnTo>
                  <a:lnTo>
                    <a:pt x="318" y="325"/>
                  </a:lnTo>
                  <a:lnTo>
                    <a:pt x="318" y="325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8" y="292"/>
                  </a:lnTo>
                  <a:lnTo>
                    <a:pt x="318" y="292"/>
                  </a:lnTo>
                  <a:lnTo>
                    <a:pt x="318" y="269"/>
                  </a:lnTo>
                  <a:lnTo>
                    <a:pt x="318" y="269"/>
                  </a:lnTo>
                  <a:lnTo>
                    <a:pt x="318" y="257"/>
                  </a:lnTo>
                  <a:lnTo>
                    <a:pt x="318" y="257"/>
                  </a:lnTo>
                  <a:lnTo>
                    <a:pt x="318" y="233"/>
                  </a:lnTo>
                  <a:lnTo>
                    <a:pt x="318" y="233"/>
                  </a:lnTo>
                  <a:lnTo>
                    <a:pt x="318" y="186"/>
                  </a:lnTo>
                  <a:lnTo>
                    <a:pt x="318" y="186"/>
                  </a:lnTo>
                  <a:lnTo>
                    <a:pt x="318" y="92"/>
                  </a:lnTo>
                  <a:lnTo>
                    <a:pt x="318" y="92"/>
                  </a:lnTo>
                  <a:lnTo>
                    <a:pt x="306" y="92"/>
                  </a:lnTo>
                  <a:lnTo>
                    <a:pt x="306" y="92"/>
                  </a:lnTo>
                  <a:lnTo>
                    <a:pt x="282" y="92"/>
                  </a:lnTo>
                  <a:lnTo>
                    <a:pt x="282" y="92"/>
                  </a:lnTo>
                  <a:lnTo>
                    <a:pt x="271" y="92"/>
                  </a:lnTo>
                  <a:lnTo>
                    <a:pt x="271" y="92"/>
                  </a:lnTo>
                  <a:lnTo>
                    <a:pt x="247" y="92"/>
                  </a:lnTo>
                  <a:lnTo>
                    <a:pt x="247" y="92"/>
                  </a:lnTo>
                  <a:lnTo>
                    <a:pt x="240" y="92"/>
                  </a:lnTo>
                  <a:lnTo>
                    <a:pt x="238" y="94"/>
                  </a:lnTo>
                  <a:lnTo>
                    <a:pt x="235" y="92"/>
                  </a:lnTo>
                  <a:lnTo>
                    <a:pt x="235" y="92"/>
                  </a:lnTo>
                  <a:lnTo>
                    <a:pt x="233" y="90"/>
                  </a:lnTo>
                  <a:lnTo>
                    <a:pt x="235" y="87"/>
                  </a:lnTo>
                  <a:lnTo>
                    <a:pt x="235" y="80"/>
                  </a:lnTo>
                  <a:lnTo>
                    <a:pt x="235" y="80"/>
                  </a:lnTo>
                  <a:lnTo>
                    <a:pt x="235" y="35"/>
                  </a:lnTo>
                  <a:lnTo>
                    <a:pt x="235" y="35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0"/>
                  </a:lnTo>
                  <a:lnTo>
                    <a:pt x="235" y="0"/>
                  </a:lnTo>
                  <a:lnTo>
                    <a:pt x="228" y="0"/>
                  </a:lnTo>
                  <a:lnTo>
                    <a:pt x="223" y="0"/>
                  </a:lnTo>
                  <a:lnTo>
                    <a:pt x="223" y="0"/>
                  </a:lnTo>
                  <a:lnTo>
                    <a:pt x="221" y="5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24"/>
                  </a:lnTo>
                  <a:lnTo>
                    <a:pt x="223" y="24"/>
                  </a:lnTo>
                  <a:lnTo>
                    <a:pt x="223" y="35"/>
                  </a:lnTo>
                  <a:lnTo>
                    <a:pt x="223" y="35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3" y="59"/>
                  </a:lnTo>
                  <a:lnTo>
                    <a:pt x="223" y="59"/>
                  </a:lnTo>
                  <a:lnTo>
                    <a:pt x="223" y="68"/>
                  </a:lnTo>
                  <a:lnTo>
                    <a:pt x="223" y="68"/>
                  </a:lnTo>
                  <a:lnTo>
                    <a:pt x="223" y="80"/>
                  </a:lnTo>
                  <a:lnTo>
                    <a:pt x="223" y="80"/>
                  </a:lnTo>
                  <a:lnTo>
                    <a:pt x="223" y="87"/>
                  </a:lnTo>
                  <a:lnTo>
                    <a:pt x="223" y="92"/>
                  </a:lnTo>
                  <a:lnTo>
                    <a:pt x="223" y="92"/>
                  </a:lnTo>
                  <a:lnTo>
                    <a:pt x="212" y="92"/>
                  </a:lnTo>
                  <a:lnTo>
                    <a:pt x="212" y="92"/>
                  </a:lnTo>
                  <a:lnTo>
                    <a:pt x="205" y="92"/>
                  </a:lnTo>
                  <a:lnTo>
                    <a:pt x="200" y="92"/>
                  </a:lnTo>
                  <a:lnTo>
                    <a:pt x="200" y="92"/>
                  </a:lnTo>
                  <a:lnTo>
                    <a:pt x="193" y="94"/>
                  </a:lnTo>
                  <a:lnTo>
                    <a:pt x="188" y="92"/>
                  </a:lnTo>
                  <a:lnTo>
                    <a:pt x="188" y="92"/>
                  </a:lnTo>
                  <a:lnTo>
                    <a:pt x="176" y="92"/>
                  </a:lnTo>
                  <a:lnTo>
                    <a:pt x="176" y="92"/>
                  </a:lnTo>
                  <a:lnTo>
                    <a:pt x="169" y="92"/>
                  </a:lnTo>
                  <a:lnTo>
                    <a:pt x="162" y="92"/>
                  </a:lnTo>
                  <a:lnTo>
                    <a:pt x="162" y="92"/>
                  </a:lnTo>
                  <a:lnTo>
                    <a:pt x="162" y="87"/>
                  </a:lnTo>
                  <a:lnTo>
                    <a:pt x="162" y="80"/>
                  </a:lnTo>
                  <a:lnTo>
                    <a:pt x="162" y="80"/>
                  </a:lnTo>
                  <a:lnTo>
                    <a:pt x="162" y="75"/>
                  </a:lnTo>
                  <a:lnTo>
                    <a:pt x="162" y="68"/>
                  </a:lnTo>
                  <a:lnTo>
                    <a:pt x="162" y="68"/>
                  </a:lnTo>
                  <a:lnTo>
                    <a:pt x="162" y="59"/>
                  </a:lnTo>
                  <a:lnTo>
                    <a:pt x="162" y="59"/>
                  </a:lnTo>
                  <a:lnTo>
                    <a:pt x="162" y="47"/>
                  </a:lnTo>
                  <a:lnTo>
                    <a:pt x="162" y="47"/>
                  </a:lnTo>
                  <a:lnTo>
                    <a:pt x="162" y="35"/>
                  </a:lnTo>
                  <a:lnTo>
                    <a:pt x="162" y="35"/>
                  </a:lnTo>
                  <a:lnTo>
                    <a:pt x="162" y="24"/>
                  </a:lnTo>
                  <a:lnTo>
                    <a:pt x="162" y="24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65" y="5"/>
                  </a:lnTo>
                  <a:lnTo>
                    <a:pt x="162" y="0"/>
                  </a:lnTo>
                  <a:lnTo>
                    <a:pt x="162" y="0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50" y="5"/>
                  </a:lnTo>
                  <a:lnTo>
                    <a:pt x="150" y="12"/>
                  </a:lnTo>
                  <a:lnTo>
                    <a:pt x="150" y="12"/>
                  </a:lnTo>
                  <a:lnTo>
                    <a:pt x="150" y="24"/>
                  </a:lnTo>
                  <a:lnTo>
                    <a:pt x="150" y="24"/>
                  </a:lnTo>
                  <a:lnTo>
                    <a:pt x="150" y="35"/>
                  </a:lnTo>
                  <a:lnTo>
                    <a:pt x="150" y="35"/>
                  </a:lnTo>
                  <a:lnTo>
                    <a:pt x="150" y="59"/>
                  </a:lnTo>
                  <a:lnTo>
                    <a:pt x="150" y="59"/>
                  </a:lnTo>
                  <a:lnTo>
                    <a:pt x="150" y="68"/>
                  </a:lnTo>
                  <a:lnTo>
                    <a:pt x="150" y="68"/>
                  </a:lnTo>
                  <a:lnTo>
                    <a:pt x="150" y="80"/>
                  </a:lnTo>
                  <a:lnTo>
                    <a:pt x="150" y="80"/>
                  </a:lnTo>
                  <a:lnTo>
                    <a:pt x="153" y="87"/>
                  </a:lnTo>
                  <a:lnTo>
                    <a:pt x="150" y="92"/>
                  </a:lnTo>
                  <a:lnTo>
                    <a:pt x="150" y="92"/>
                  </a:lnTo>
                  <a:lnTo>
                    <a:pt x="148" y="94"/>
                  </a:lnTo>
                  <a:lnTo>
                    <a:pt x="146" y="92"/>
                  </a:lnTo>
                  <a:lnTo>
                    <a:pt x="139" y="92"/>
                  </a:lnTo>
                  <a:lnTo>
                    <a:pt x="139" y="92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03" y="92"/>
                  </a:lnTo>
                  <a:lnTo>
                    <a:pt x="103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27"/>
                  </a:lnTo>
                  <a:lnTo>
                    <a:pt x="56" y="127"/>
                  </a:lnTo>
                  <a:lnTo>
                    <a:pt x="56" y="174"/>
                  </a:lnTo>
                  <a:lnTo>
                    <a:pt x="56" y="174"/>
                  </a:lnTo>
                  <a:lnTo>
                    <a:pt x="56" y="198"/>
                  </a:lnTo>
                  <a:lnTo>
                    <a:pt x="56" y="198"/>
                  </a:lnTo>
                  <a:lnTo>
                    <a:pt x="56" y="245"/>
                  </a:lnTo>
                  <a:lnTo>
                    <a:pt x="56" y="245"/>
                  </a:lnTo>
                  <a:lnTo>
                    <a:pt x="56" y="292"/>
                  </a:lnTo>
                  <a:lnTo>
                    <a:pt x="56" y="292"/>
                  </a:lnTo>
                  <a:lnTo>
                    <a:pt x="56" y="313"/>
                  </a:lnTo>
                  <a:lnTo>
                    <a:pt x="56" y="313"/>
                  </a:lnTo>
                  <a:lnTo>
                    <a:pt x="56" y="325"/>
                  </a:lnTo>
                  <a:lnTo>
                    <a:pt x="56" y="325"/>
                  </a:lnTo>
                  <a:lnTo>
                    <a:pt x="56" y="349"/>
                  </a:lnTo>
                  <a:lnTo>
                    <a:pt x="56" y="349"/>
                  </a:lnTo>
                  <a:lnTo>
                    <a:pt x="56" y="372"/>
                  </a:lnTo>
                  <a:lnTo>
                    <a:pt x="56" y="372"/>
                  </a:lnTo>
                  <a:lnTo>
                    <a:pt x="56" y="384"/>
                  </a:lnTo>
                  <a:lnTo>
                    <a:pt x="56" y="384"/>
                  </a:lnTo>
                  <a:lnTo>
                    <a:pt x="56" y="408"/>
                  </a:lnTo>
                  <a:lnTo>
                    <a:pt x="56" y="408"/>
                  </a:lnTo>
                  <a:lnTo>
                    <a:pt x="56" y="419"/>
                  </a:lnTo>
                  <a:lnTo>
                    <a:pt x="56" y="419"/>
                  </a:lnTo>
                  <a:lnTo>
                    <a:pt x="56" y="443"/>
                  </a:lnTo>
                  <a:lnTo>
                    <a:pt x="56" y="443"/>
                  </a:lnTo>
                  <a:lnTo>
                    <a:pt x="56" y="455"/>
                  </a:lnTo>
                  <a:lnTo>
                    <a:pt x="56" y="455"/>
                  </a:lnTo>
                  <a:lnTo>
                    <a:pt x="56" y="467"/>
                  </a:lnTo>
                  <a:lnTo>
                    <a:pt x="56" y="467"/>
                  </a:lnTo>
                  <a:lnTo>
                    <a:pt x="56" y="471"/>
                  </a:lnTo>
                  <a:lnTo>
                    <a:pt x="56" y="478"/>
                  </a:lnTo>
                  <a:lnTo>
                    <a:pt x="56" y="478"/>
                  </a:lnTo>
                  <a:lnTo>
                    <a:pt x="51" y="478"/>
                  </a:lnTo>
                  <a:lnTo>
                    <a:pt x="44" y="478"/>
                  </a:lnTo>
                  <a:lnTo>
                    <a:pt x="44" y="478"/>
                  </a:lnTo>
                  <a:lnTo>
                    <a:pt x="44" y="481"/>
                  </a:lnTo>
                  <a:lnTo>
                    <a:pt x="44" y="483"/>
                  </a:lnTo>
                  <a:lnTo>
                    <a:pt x="44" y="490"/>
                  </a:lnTo>
                  <a:lnTo>
                    <a:pt x="44" y="490"/>
                  </a:lnTo>
                  <a:lnTo>
                    <a:pt x="33" y="490"/>
                  </a:lnTo>
                  <a:lnTo>
                    <a:pt x="33" y="490"/>
                  </a:lnTo>
                  <a:lnTo>
                    <a:pt x="21" y="490"/>
                  </a:lnTo>
                  <a:lnTo>
                    <a:pt x="21" y="490"/>
                  </a:lnTo>
                  <a:lnTo>
                    <a:pt x="9" y="490"/>
                  </a:lnTo>
                  <a:lnTo>
                    <a:pt x="9" y="490"/>
                  </a:lnTo>
                  <a:lnTo>
                    <a:pt x="4" y="490"/>
                  </a:lnTo>
                  <a:lnTo>
                    <a:pt x="0" y="490"/>
                  </a:lnTo>
                  <a:lnTo>
                    <a:pt x="0" y="606"/>
                  </a:lnTo>
                  <a:lnTo>
                    <a:pt x="0" y="606"/>
                  </a:lnTo>
                  <a:lnTo>
                    <a:pt x="21" y="606"/>
                  </a:lnTo>
                  <a:lnTo>
                    <a:pt x="21" y="606"/>
                  </a:lnTo>
                  <a:lnTo>
                    <a:pt x="33" y="606"/>
                  </a:lnTo>
                  <a:lnTo>
                    <a:pt x="33" y="606"/>
                  </a:lnTo>
                  <a:lnTo>
                    <a:pt x="56" y="606"/>
                  </a:lnTo>
                  <a:lnTo>
                    <a:pt x="56" y="606"/>
                  </a:lnTo>
                  <a:lnTo>
                    <a:pt x="68" y="606"/>
                  </a:lnTo>
                  <a:lnTo>
                    <a:pt x="68" y="606"/>
                  </a:lnTo>
                  <a:lnTo>
                    <a:pt x="91" y="606"/>
                  </a:lnTo>
                  <a:lnTo>
                    <a:pt x="91" y="606"/>
                  </a:lnTo>
                  <a:lnTo>
                    <a:pt x="103" y="606"/>
                  </a:lnTo>
                  <a:lnTo>
                    <a:pt x="103" y="606"/>
                  </a:lnTo>
                  <a:lnTo>
                    <a:pt x="127" y="606"/>
                  </a:lnTo>
                  <a:lnTo>
                    <a:pt x="127" y="606"/>
                  </a:lnTo>
                  <a:lnTo>
                    <a:pt x="139" y="606"/>
                  </a:lnTo>
                  <a:lnTo>
                    <a:pt x="139" y="606"/>
                  </a:lnTo>
                  <a:lnTo>
                    <a:pt x="162" y="606"/>
                  </a:lnTo>
                  <a:lnTo>
                    <a:pt x="162" y="606"/>
                  </a:lnTo>
                  <a:lnTo>
                    <a:pt x="176" y="606"/>
                  </a:lnTo>
                  <a:lnTo>
                    <a:pt x="176" y="606"/>
                  </a:lnTo>
                  <a:lnTo>
                    <a:pt x="200" y="606"/>
                  </a:lnTo>
                  <a:lnTo>
                    <a:pt x="200" y="606"/>
                  </a:lnTo>
                  <a:lnTo>
                    <a:pt x="212" y="606"/>
                  </a:lnTo>
                  <a:lnTo>
                    <a:pt x="212" y="606"/>
                  </a:lnTo>
                  <a:lnTo>
                    <a:pt x="235" y="606"/>
                  </a:lnTo>
                  <a:lnTo>
                    <a:pt x="235" y="606"/>
                  </a:lnTo>
                  <a:lnTo>
                    <a:pt x="247" y="606"/>
                  </a:lnTo>
                  <a:lnTo>
                    <a:pt x="247" y="606"/>
                  </a:lnTo>
                  <a:lnTo>
                    <a:pt x="271" y="606"/>
                  </a:lnTo>
                  <a:lnTo>
                    <a:pt x="271" y="606"/>
                  </a:lnTo>
                  <a:lnTo>
                    <a:pt x="294" y="606"/>
                  </a:lnTo>
                  <a:lnTo>
                    <a:pt x="294" y="606"/>
                  </a:lnTo>
                  <a:lnTo>
                    <a:pt x="306" y="606"/>
                  </a:lnTo>
                  <a:lnTo>
                    <a:pt x="306" y="606"/>
                  </a:lnTo>
                  <a:lnTo>
                    <a:pt x="329" y="606"/>
                  </a:lnTo>
                  <a:lnTo>
                    <a:pt x="329" y="606"/>
                  </a:lnTo>
                  <a:lnTo>
                    <a:pt x="341" y="606"/>
                  </a:lnTo>
                  <a:lnTo>
                    <a:pt x="341" y="606"/>
                  </a:lnTo>
                  <a:lnTo>
                    <a:pt x="365" y="606"/>
                  </a:lnTo>
                  <a:lnTo>
                    <a:pt x="365" y="606"/>
                  </a:lnTo>
                  <a:lnTo>
                    <a:pt x="377" y="606"/>
                  </a:lnTo>
                  <a:lnTo>
                    <a:pt x="377" y="606"/>
                  </a:lnTo>
                  <a:lnTo>
                    <a:pt x="400" y="606"/>
                  </a:lnTo>
                  <a:lnTo>
                    <a:pt x="400" y="606"/>
                  </a:lnTo>
                  <a:lnTo>
                    <a:pt x="412" y="606"/>
                  </a:lnTo>
                  <a:lnTo>
                    <a:pt x="412" y="606"/>
                  </a:lnTo>
                  <a:lnTo>
                    <a:pt x="435" y="606"/>
                  </a:lnTo>
                  <a:lnTo>
                    <a:pt x="435" y="606"/>
                  </a:lnTo>
                  <a:lnTo>
                    <a:pt x="447" y="606"/>
                  </a:lnTo>
                  <a:lnTo>
                    <a:pt x="447" y="606"/>
                  </a:lnTo>
                  <a:lnTo>
                    <a:pt x="471" y="606"/>
                  </a:lnTo>
                  <a:lnTo>
                    <a:pt x="471" y="606"/>
                  </a:lnTo>
                  <a:lnTo>
                    <a:pt x="483" y="606"/>
                  </a:lnTo>
                  <a:lnTo>
                    <a:pt x="483" y="606"/>
                  </a:lnTo>
                  <a:lnTo>
                    <a:pt x="506" y="606"/>
                  </a:lnTo>
                  <a:lnTo>
                    <a:pt x="506" y="606"/>
                  </a:lnTo>
                  <a:lnTo>
                    <a:pt x="518" y="606"/>
                  </a:lnTo>
                  <a:lnTo>
                    <a:pt x="518" y="606"/>
                  </a:lnTo>
                  <a:lnTo>
                    <a:pt x="542" y="606"/>
                  </a:lnTo>
                  <a:lnTo>
                    <a:pt x="542" y="606"/>
                  </a:lnTo>
                  <a:lnTo>
                    <a:pt x="565" y="606"/>
                  </a:lnTo>
                  <a:lnTo>
                    <a:pt x="565" y="606"/>
                  </a:lnTo>
                  <a:lnTo>
                    <a:pt x="577" y="606"/>
                  </a:lnTo>
                  <a:lnTo>
                    <a:pt x="577" y="606"/>
                  </a:lnTo>
                  <a:lnTo>
                    <a:pt x="603" y="606"/>
                  </a:lnTo>
                  <a:lnTo>
                    <a:pt x="603" y="606"/>
                  </a:lnTo>
                  <a:lnTo>
                    <a:pt x="615" y="606"/>
                  </a:lnTo>
                  <a:lnTo>
                    <a:pt x="615" y="606"/>
                  </a:lnTo>
                  <a:lnTo>
                    <a:pt x="638" y="606"/>
                  </a:lnTo>
                  <a:lnTo>
                    <a:pt x="638" y="606"/>
                  </a:lnTo>
                  <a:lnTo>
                    <a:pt x="650" y="606"/>
                  </a:lnTo>
                  <a:lnTo>
                    <a:pt x="650" y="606"/>
                  </a:lnTo>
                  <a:lnTo>
                    <a:pt x="673" y="606"/>
                  </a:lnTo>
                  <a:lnTo>
                    <a:pt x="673" y="606"/>
                  </a:lnTo>
                  <a:lnTo>
                    <a:pt x="685" y="606"/>
                  </a:lnTo>
                  <a:lnTo>
                    <a:pt x="685" y="606"/>
                  </a:lnTo>
                  <a:lnTo>
                    <a:pt x="709" y="606"/>
                  </a:lnTo>
                  <a:lnTo>
                    <a:pt x="709" y="606"/>
                  </a:lnTo>
                  <a:lnTo>
                    <a:pt x="721" y="606"/>
                  </a:lnTo>
                  <a:lnTo>
                    <a:pt x="721" y="606"/>
                  </a:lnTo>
                  <a:lnTo>
                    <a:pt x="744" y="606"/>
                  </a:lnTo>
                  <a:lnTo>
                    <a:pt x="744" y="606"/>
                  </a:lnTo>
                  <a:lnTo>
                    <a:pt x="756" y="606"/>
                  </a:lnTo>
                  <a:lnTo>
                    <a:pt x="756" y="606"/>
                  </a:lnTo>
                  <a:lnTo>
                    <a:pt x="779" y="606"/>
                  </a:lnTo>
                  <a:lnTo>
                    <a:pt x="779" y="606"/>
                  </a:lnTo>
                  <a:lnTo>
                    <a:pt x="791" y="606"/>
                  </a:lnTo>
                  <a:lnTo>
                    <a:pt x="791" y="606"/>
                  </a:lnTo>
                  <a:lnTo>
                    <a:pt x="815" y="606"/>
                  </a:lnTo>
                  <a:lnTo>
                    <a:pt x="815" y="606"/>
                  </a:lnTo>
                  <a:lnTo>
                    <a:pt x="827" y="606"/>
                  </a:lnTo>
                  <a:lnTo>
                    <a:pt x="827" y="606"/>
                  </a:lnTo>
                  <a:lnTo>
                    <a:pt x="850" y="606"/>
                  </a:lnTo>
                  <a:lnTo>
                    <a:pt x="850" y="606"/>
                  </a:lnTo>
                  <a:lnTo>
                    <a:pt x="862" y="606"/>
                  </a:lnTo>
                  <a:lnTo>
                    <a:pt x="862" y="606"/>
                  </a:lnTo>
                  <a:lnTo>
                    <a:pt x="886" y="606"/>
                  </a:lnTo>
                  <a:lnTo>
                    <a:pt x="886" y="606"/>
                  </a:lnTo>
                  <a:lnTo>
                    <a:pt x="897" y="606"/>
                  </a:lnTo>
                  <a:lnTo>
                    <a:pt x="897" y="606"/>
                  </a:lnTo>
                  <a:lnTo>
                    <a:pt x="921" y="606"/>
                  </a:lnTo>
                  <a:lnTo>
                    <a:pt x="921" y="606"/>
                  </a:lnTo>
                  <a:lnTo>
                    <a:pt x="933" y="606"/>
                  </a:lnTo>
                  <a:lnTo>
                    <a:pt x="933" y="606"/>
                  </a:lnTo>
                  <a:lnTo>
                    <a:pt x="956" y="606"/>
                  </a:lnTo>
                  <a:lnTo>
                    <a:pt x="956" y="606"/>
                  </a:lnTo>
                  <a:lnTo>
                    <a:pt x="968" y="606"/>
                  </a:lnTo>
                  <a:lnTo>
                    <a:pt x="968" y="606"/>
                  </a:lnTo>
                  <a:lnTo>
                    <a:pt x="994" y="606"/>
                  </a:lnTo>
                  <a:lnTo>
                    <a:pt x="994" y="606"/>
                  </a:lnTo>
                  <a:lnTo>
                    <a:pt x="1006" y="606"/>
                  </a:lnTo>
                  <a:lnTo>
                    <a:pt x="1006" y="606"/>
                  </a:lnTo>
                  <a:lnTo>
                    <a:pt x="1029" y="606"/>
                  </a:lnTo>
                  <a:lnTo>
                    <a:pt x="1029" y="606"/>
                  </a:lnTo>
                  <a:lnTo>
                    <a:pt x="1041" y="606"/>
                  </a:lnTo>
                  <a:lnTo>
                    <a:pt x="1041" y="606"/>
                  </a:lnTo>
                  <a:lnTo>
                    <a:pt x="1065" y="606"/>
                  </a:lnTo>
                  <a:lnTo>
                    <a:pt x="1065" y="606"/>
                  </a:lnTo>
                  <a:lnTo>
                    <a:pt x="1076" y="606"/>
                  </a:lnTo>
                  <a:lnTo>
                    <a:pt x="1076" y="606"/>
                  </a:lnTo>
                  <a:lnTo>
                    <a:pt x="1100" y="606"/>
                  </a:lnTo>
                  <a:lnTo>
                    <a:pt x="1100" y="606"/>
                  </a:lnTo>
                  <a:lnTo>
                    <a:pt x="1123" y="606"/>
                  </a:lnTo>
                  <a:lnTo>
                    <a:pt x="1123" y="606"/>
                  </a:lnTo>
                  <a:lnTo>
                    <a:pt x="1135" y="606"/>
                  </a:lnTo>
                  <a:lnTo>
                    <a:pt x="1135" y="606"/>
                  </a:lnTo>
                  <a:lnTo>
                    <a:pt x="1159" y="606"/>
                  </a:lnTo>
                  <a:lnTo>
                    <a:pt x="1159" y="606"/>
                  </a:lnTo>
                  <a:lnTo>
                    <a:pt x="1171" y="606"/>
                  </a:lnTo>
                  <a:lnTo>
                    <a:pt x="1171" y="606"/>
                  </a:lnTo>
                  <a:lnTo>
                    <a:pt x="1194" y="606"/>
                  </a:lnTo>
                  <a:lnTo>
                    <a:pt x="1194" y="606"/>
                  </a:lnTo>
                  <a:lnTo>
                    <a:pt x="1206" y="606"/>
                  </a:lnTo>
                  <a:lnTo>
                    <a:pt x="1206" y="606"/>
                  </a:lnTo>
                  <a:lnTo>
                    <a:pt x="1230" y="606"/>
                  </a:lnTo>
                  <a:lnTo>
                    <a:pt x="1230" y="606"/>
                  </a:lnTo>
                  <a:lnTo>
                    <a:pt x="1241" y="606"/>
                  </a:lnTo>
                  <a:lnTo>
                    <a:pt x="1241" y="606"/>
                  </a:lnTo>
                  <a:lnTo>
                    <a:pt x="1265" y="606"/>
                  </a:lnTo>
                  <a:lnTo>
                    <a:pt x="1265" y="606"/>
                  </a:lnTo>
                  <a:lnTo>
                    <a:pt x="1277" y="606"/>
                  </a:lnTo>
                  <a:lnTo>
                    <a:pt x="1277" y="606"/>
                  </a:lnTo>
                  <a:lnTo>
                    <a:pt x="1300" y="606"/>
                  </a:lnTo>
                  <a:lnTo>
                    <a:pt x="1300" y="606"/>
                  </a:lnTo>
                  <a:lnTo>
                    <a:pt x="1312" y="606"/>
                  </a:lnTo>
                  <a:lnTo>
                    <a:pt x="1312" y="606"/>
                  </a:lnTo>
                  <a:lnTo>
                    <a:pt x="1336" y="606"/>
                  </a:lnTo>
                  <a:lnTo>
                    <a:pt x="1336" y="606"/>
                  </a:lnTo>
                  <a:lnTo>
                    <a:pt x="1347" y="606"/>
                  </a:lnTo>
                  <a:lnTo>
                    <a:pt x="1347" y="606"/>
                  </a:lnTo>
                  <a:lnTo>
                    <a:pt x="1371" y="606"/>
                  </a:lnTo>
                  <a:lnTo>
                    <a:pt x="1371" y="606"/>
                  </a:lnTo>
                  <a:lnTo>
                    <a:pt x="1397" y="606"/>
                  </a:lnTo>
                  <a:lnTo>
                    <a:pt x="1397" y="606"/>
                  </a:lnTo>
                  <a:lnTo>
                    <a:pt x="1409" y="606"/>
                  </a:lnTo>
                  <a:lnTo>
                    <a:pt x="1409" y="606"/>
                  </a:lnTo>
                  <a:lnTo>
                    <a:pt x="1432" y="606"/>
                  </a:lnTo>
                  <a:lnTo>
                    <a:pt x="1432" y="606"/>
                  </a:lnTo>
                  <a:lnTo>
                    <a:pt x="1444" y="606"/>
                  </a:lnTo>
                  <a:lnTo>
                    <a:pt x="1444" y="606"/>
                  </a:lnTo>
                  <a:lnTo>
                    <a:pt x="1468" y="606"/>
                  </a:lnTo>
                  <a:lnTo>
                    <a:pt x="1468" y="606"/>
                  </a:lnTo>
                  <a:lnTo>
                    <a:pt x="1479" y="606"/>
                  </a:lnTo>
                  <a:lnTo>
                    <a:pt x="1479" y="606"/>
                  </a:lnTo>
                  <a:lnTo>
                    <a:pt x="1503" y="606"/>
                  </a:lnTo>
                  <a:lnTo>
                    <a:pt x="1503" y="606"/>
                  </a:lnTo>
                  <a:lnTo>
                    <a:pt x="1515" y="606"/>
                  </a:lnTo>
                  <a:lnTo>
                    <a:pt x="1515" y="606"/>
                  </a:lnTo>
                  <a:lnTo>
                    <a:pt x="1538" y="606"/>
                  </a:lnTo>
                  <a:lnTo>
                    <a:pt x="1538" y="606"/>
                  </a:lnTo>
                  <a:lnTo>
                    <a:pt x="1550" y="606"/>
                  </a:lnTo>
                  <a:lnTo>
                    <a:pt x="1550" y="606"/>
                  </a:lnTo>
                  <a:lnTo>
                    <a:pt x="1574" y="606"/>
                  </a:lnTo>
                  <a:lnTo>
                    <a:pt x="1574" y="606"/>
                  </a:lnTo>
                  <a:lnTo>
                    <a:pt x="1585" y="606"/>
                  </a:lnTo>
                  <a:lnTo>
                    <a:pt x="1585" y="606"/>
                  </a:lnTo>
                  <a:lnTo>
                    <a:pt x="1609" y="606"/>
                  </a:lnTo>
                  <a:lnTo>
                    <a:pt x="1609" y="606"/>
                  </a:lnTo>
                  <a:lnTo>
                    <a:pt x="1621" y="606"/>
                  </a:lnTo>
                  <a:lnTo>
                    <a:pt x="1621" y="606"/>
                  </a:lnTo>
                  <a:lnTo>
                    <a:pt x="1644" y="606"/>
                  </a:lnTo>
                  <a:lnTo>
                    <a:pt x="1644" y="606"/>
                  </a:lnTo>
                  <a:lnTo>
                    <a:pt x="1668" y="606"/>
                  </a:lnTo>
                  <a:lnTo>
                    <a:pt x="1668" y="606"/>
                  </a:lnTo>
                  <a:lnTo>
                    <a:pt x="1680" y="606"/>
                  </a:lnTo>
                  <a:lnTo>
                    <a:pt x="1680" y="606"/>
                  </a:lnTo>
                  <a:lnTo>
                    <a:pt x="1703" y="606"/>
                  </a:lnTo>
                  <a:lnTo>
                    <a:pt x="1703" y="606"/>
                  </a:lnTo>
                  <a:lnTo>
                    <a:pt x="1715" y="606"/>
                  </a:lnTo>
                  <a:lnTo>
                    <a:pt x="1715" y="606"/>
                  </a:lnTo>
                  <a:lnTo>
                    <a:pt x="1738" y="606"/>
                  </a:lnTo>
                  <a:lnTo>
                    <a:pt x="1738" y="606"/>
                  </a:lnTo>
                  <a:lnTo>
                    <a:pt x="1750" y="606"/>
                  </a:lnTo>
                  <a:lnTo>
                    <a:pt x="1750" y="606"/>
                  </a:lnTo>
                  <a:lnTo>
                    <a:pt x="1774" y="606"/>
                  </a:lnTo>
                  <a:lnTo>
                    <a:pt x="1774" y="606"/>
                  </a:lnTo>
                  <a:lnTo>
                    <a:pt x="1786" y="606"/>
                  </a:lnTo>
                  <a:lnTo>
                    <a:pt x="1786" y="606"/>
                  </a:lnTo>
                  <a:lnTo>
                    <a:pt x="1812" y="606"/>
                  </a:lnTo>
                  <a:lnTo>
                    <a:pt x="1812" y="606"/>
                  </a:lnTo>
                  <a:lnTo>
                    <a:pt x="1823" y="606"/>
                  </a:lnTo>
                  <a:lnTo>
                    <a:pt x="1823" y="606"/>
                  </a:lnTo>
                  <a:lnTo>
                    <a:pt x="1847" y="606"/>
                  </a:lnTo>
                  <a:lnTo>
                    <a:pt x="1847" y="606"/>
                  </a:lnTo>
                  <a:lnTo>
                    <a:pt x="1859" y="606"/>
                  </a:lnTo>
                  <a:lnTo>
                    <a:pt x="1859" y="606"/>
                  </a:lnTo>
                  <a:lnTo>
                    <a:pt x="1882" y="606"/>
                  </a:lnTo>
                  <a:lnTo>
                    <a:pt x="1882" y="606"/>
                  </a:lnTo>
                  <a:lnTo>
                    <a:pt x="1894" y="606"/>
                  </a:lnTo>
                  <a:lnTo>
                    <a:pt x="1894" y="606"/>
                  </a:lnTo>
                  <a:lnTo>
                    <a:pt x="1918" y="606"/>
                  </a:lnTo>
                  <a:lnTo>
                    <a:pt x="1918" y="606"/>
                  </a:lnTo>
                  <a:lnTo>
                    <a:pt x="1929" y="606"/>
                  </a:lnTo>
                  <a:lnTo>
                    <a:pt x="1929" y="606"/>
                  </a:lnTo>
                  <a:lnTo>
                    <a:pt x="1953" y="606"/>
                  </a:lnTo>
                  <a:lnTo>
                    <a:pt x="1953" y="606"/>
                  </a:lnTo>
                  <a:lnTo>
                    <a:pt x="1965" y="606"/>
                  </a:lnTo>
                  <a:lnTo>
                    <a:pt x="1965" y="606"/>
                  </a:lnTo>
                  <a:lnTo>
                    <a:pt x="1988" y="606"/>
                  </a:lnTo>
                  <a:lnTo>
                    <a:pt x="1988" y="606"/>
                  </a:lnTo>
                  <a:lnTo>
                    <a:pt x="2000" y="606"/>
                  </a:lnTo>
                  <a:lnTo>
                    <a:pt x="2000" y="606"/>
                  </a:lnTo>
                  <a:lnTo>
                    <a:pt x="2024" y="606"/>
                  </a:lnTo>
                  <a:lnTo>
                    <a:pt x="2024" y="606"/>
                  </a:lnTo>
                  <a:lnTo>
                    <a:pt x="2035" y="606"/>
                  </a:lnTo>
                  <a:lnTo>
                    <a:pt x="2035" y="606"/>
                  </a:lnTo>
                  <a:lnTo>
                    <a:pt x="2059" y="606"/>
                  </a:lnTo>
                  <a:lnTo>
                    <a:pt x="2059" y="606"/>
                  </a:lnTo>
                  <a:lnTo>
                    <a:pt x="2071" y="606"/>
                  </a:lnTo>
                  <a:lnTo>
                    <a:pt x="2071" y="606"/>
                  </a:lnTo>
                  <a:lnTo>
                    <a:pt x="2094" y="606"/>
                  </a:lnTo>
                  <a:lnTo>
                    <a:pt x="2094" y="606"/>
                  </a:lnTo>
                  <a:lnTo>
                    <a:pt x="2106" y="606"/>
                  </a:lnTo>
                  <a:lnTo>
                    <a:pt x="2106" y="606"/>
                  </a:lnTo>
                  <a:lnTo>
                    <a:pt x="2130" y="606"/>
                  </a:lnTo>
                  <a:lnTo>
                    <a:pt x="2130" y="606"/>
                  </a:lnTo>
                  <a:lnTo>
                    <a:pt x="2141" y="606"/>
                  </a:lnTo>
                  <a:lnTo>
                    <a:pt x="2141" y="606"/>
                  </a:lnTo>
                  <a:lnTo>
                    <a:pt x="2165" y="606"/>
                  </a:lnTo>
                  <a:lnTo>
                    <a:pt x="2165" y="606"/>
                  </a:lnTo>
                  <a:lnTo>
                    <a:pt x="2177" y="606"/>
                  </a:lnTo>
                  <a:lnTo>
                    <a:pt x="2177" y="606"/>
                  </a:lnTo>
                  <a:lnTo>
                    <a:pt x="2200" y="606"/>
                  </a:lnTo>
                  <a:lnTo>
                    <a:pt x="2200" y="606"/>
                  </a:lnTo>
                  <a:lnTo>
                    <a:pt x="2214" y="606"/>
                  </a:lnTo>
                  <a:lnTo>
                    <a:pt x="2214" y="606"/>
                  </a:lnTo>
                  <a:lnTo>
                    <a:pt x="2238" y="606"/>
                  </a:lnTo>
                  <a:lnTo>
                    <a:pt x="2238" y="606"/>
                  </a:lnTo>
                  <a:lnTo>
                    <a:pt x="2262" y="606"/>
                  </a:lnTo>
                  <a:lnTo>
                    <a:pt x="2262" y="606"/>
                  </a:lnTo>
                  <a:lnTo>
                    <a:pt x="2273" y="606"/>
                  </a:lnTo>
                  <a:lnTo>
                    <a:pt x="2273" y="606"/>
                  </a:lnTo>
                  <a:lnTo>
                    <a:pt x="2297" y="606"/>
                  </a:lnTo>
                  <a:lnTo>
                    <a:pt x="2297" y="606"/>
                  </a:lnTo>
                  <a:lnTo>
                    <a:pt x="2344" y="606"/>
                  </a:lnTo>
                  <a:lnTo>
                    <a:pt x="2344" y="606"/>
                  </a:lnTo>
                  <a:lnTo>
                    <a:pt x="2344" y="582"/>
                  </a:lnTo>
                  <a:lnTo>
                    <a:pt x="2344" y="582"/>
                  </a:lnTo>
                  <a:lnTo>
                    <a:pt x="2344" y="570"/>
                  </a:lnTo>
                  <a:lnTo>
                    <a:pt x="2344" y="570"/>
                  </a:lnTo>
                  <a:lnTo>
                    <a:pt x="2344" y="547"/>
                  </a:lnTo>
                  <a:lnTo>
                    <a:pt x="2344" y="547"/>
                  </a:lnTo>
                  <a:lnTo>
                    <a:pt x="2344" y="525"/>
                  </a:lnTo>
                  <a:lnTo>
                    <a:pt x="2344" y="525"/>
                  </a:lnTo>
                  <a:lnTo>
                    <a:pt x="2344" y="518"/>
                  </a:lnTo>
                  <a:lnTo>
                    <a:pt x="2344" y="514"/>
                  </a:lnTo>
                  <a:lnTo>
                    <a:pt x="2344" y="514"/>
                  </a:lnTo>
                  <a:close/>
                </a:path>
              </a:pathLst>
            </a:custGeom>
            <a:solidFill>
              <a:schemeClr val="accent2">
                <a:alpha val="58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1" name="Group 70"/>
            <p:cNvGrpSpPr/>
            <p:nvPr/>
          </p:nvGrpSpPr>
          <p:grpSpPr>
            <a:xfrm>
              <a:off x="946150" y="2708929"/>
              <a:ext cx="3451225" cy="962025"/>
              <a:chOff x="1447800" y="1524000"/>
              <a:chExt cx="3451225" cy="962025"/>
            </a:xfrm>
            <a:grpFill/>
          </p:grpSpPr>
          <p:sp>
            <p:nvSpPr>
              <p:cNvPr id="74" name="Freeform 73"/>
              <p:cNvSpPr>
                <a:spLocks/>
              </p:cNvSpPr>
              <p:nvPr/>
            </p:nvSpPr>
            <p:spPr bwMode="auto">
              <a:xfrm>
                <a:off x="1962150" y="2246313"/>
                <a:ext cx="55563" cy="19050"/>
              </a:xfrm>
              <a:custGeom>
                <a:avLst/>
                <a:gdLst>
                  <a:gd name="T0" fmla="*/ 35 w 35"/>
                  <a:gd name="T1" fmla="*/ 0 h 12"/>
                  <a:gd name="T2" fmla="*/ 35 w 35"/>
                  <a:gd name="T3" fmla="*/ 0 h 12"/>
                  <a:gd name="T4" fmla="*/ 28 w 35"/>
                  <a:gd name="T5" fmla="*/ 0 h 12"/>
                  <a:gd name="T6" fmla="*/ 24 w 35"/>
                  <a:gd name="T7" fmla="*/ 0 h 12"/>
                  <a:gd name="T8" fmla="*/ 24 w 35"/>
                  <a:gd name="T9" fmla="*/ 0 h 12"/>
                  <a:gd name="T10" fmla="*/ 12 w 35"/>
                  <a:gd name="T11" fmla="*/ 0 h 12"/>
                  <a:gd name="T12" fmla="*/ 12 w 35"/>
                  <a:gd name="T13" fmla="*/ 0 h 12"/>
                  <a:gd name="T14" fmla="*/ 5 w 35"/>
                  <a:gd name="T15" fmla="*/ 0 h 12"/>
                  <a:gd name="T16" fmla="*/ 0 w 35"/>
                  <a:gd name="T17" fmla="*/ 0 h 12"/>
                  <a:gd name="T18" fmla="*/ 0 w 35"/>
                  <a:gd name="T19" fmla="*/ 0 h 12"/>
                  <a:gd name="T20" fmla="*/ 0 w 35"/>
                  <a:gd name="T21" fmla="*/ 12 h 12"/>
                  <a:gd name="T22" fmla="*/ 0 w 35"/>
                  <a:gd name="T23" fmla="*/ 12 h 12"/>
                  <a:gd name="T24" fmla="*/ 5 w 35"/>
                  <a:gd name="T25" fmla="*/ 12 h 12"/>
                  <a:gd name="T26" fmla="*/ 12 w 35"/>
                  <a:gd name="T27" fmla="*/ 12 h 12"/>
                  <a:gd name="T28" fmla="*/ 12 w 35"/>
                  <a:gd name="T29" fmla="*/ 12 h 12"/>
                  <a:gd name="T30" fmla="*/ 24 w 35"/>
                  <a:gd name="T31" fmla="*/ 12 h 12"/>
                  <a:gd name="T32" fmla="*/ 24 w 35"/>
                  <a:gd name="T33" fmla="*/ 12 h 12"/>
                  <a:gd name="T34" fmla="*/ 35 w 35"/>
                  <a:gd name="T35" fmla="*/ 12 h 12"/>
                  <a:gd name="T36" fmla="*/ 35 w 35"/>
                  <a:gd name="T37" fmla="*/ 12 h 12"/>
                  <a:gd name="T38" fmla="*/ 35 w 35"/>
                  <a:gd name="T39" fmla="*/ 4 h 12"/>
                  <a:gd name="T40" fmla="*/ 35 w 35"/>
                  <a:gd name="T41" fmla="*/ 0 h 12"/>
                  <a:gd name="T42" fmla="*/ 35 w 35"/>
                  <a:gd name="T4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12">
                    <a:moveTo>
                      <a:pt x="35" y="0"/>
                    </a:moveTo>
                    <a:lnTo>
                      <a:pt x="35" y="0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5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35" y="12"/>
                    </a:lnTo>
                    <a:lnTo>
                      <a:pt x="35" y="12"/>
                    </a:lnTo>
                    <a:lnTo>
                      <a:pt x="35" y="4"/>
                    </a:lnTo>
                    <a:lnTo>
                      <a:pt x="35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74"/>
              <p:cNvSpPr>
                <a:spLocks/>
              </p:cNvSpPr>
              <p:nvPr/>
            </p:nvSpPr>
            <p:spPr bwMode="auto">
              <a:xfrm flipH="1">
                <a:off x="1447800" y="1524000"/>
                <a:ext cx="3451225" cy="962025"/>
              </a:xfrm>
              <a:custGeom>
                <a:avLst/>
                <a:gdLst>
                  <a:gd name="T0" fmla="*/ 2323 w 2338"/>
                  <a:gd name="T1" fmla="*/ 455 h 606"/>
                  <a:gd name="T2" fmla="*/ 2265 w 2338"/>
                  <a:gd name="T3" fmla="*/ 412 h 606"/>
                  <a:gd name="T4" fmla="*/ 2253 w 2338"/>
                  <a:gd name="T5" fmla="*/ 280 h 606"/>
                  <a:gd name="T6" fmla="*/ 2253 w 2338"/>
                  <a:gd name="T7" fmla="*/ 127 h 606"/>
                  <a:gd name="T8" fmla="*/ 2229 w 2338"/>
                  <a:gd name="T9" fmla="*/ 57 h 606"/>
                  <a:gd name="T10" fmla="*/ 2210 w 2338"/>
                  <a:gd name="T11" fmla="*/ 35 h 606"/>
                  <a:gd name="T12" fmla="*/ 2182 w 2338"/>
                  <a:gd name="T13" fmla="*/ 12 h 606"/>
                  <a:gd name="T14" fmla="*/ 2147 w 2338"/>
                  <a:gd name="T15" fmla="*/ 12 h 606"/>
                  <a:gd name="T16" fmla="*/ 2133 w 2338"/>
                  <a:gd name="T17" fmla="*/ 35 h 606"/>
                  <a:gd name="T18" fmla="*/ 2085 w 2338"/>
                  <a:gd name="T19" fmla="*/ 68 h 606"/>
                  <a:gd name="T20" fmla="*/ 2074 w 2338"/>
                  <a:gd name="T21" fmla="*/ 163 h 606"/>
                  <a:gd name="T22" fmla="*/ 2062 w 2338"/>
                  <a:gd name="T23" fmla="*/ 257 h 606"/>
                  <a:gd name="T24" fmla="*/ 2034 w 2338"/>
                  <a:gd name="T25" fmla="*/ 325 h 606"/>
                  <a:gd name="T26" fmla="*/ 2027 w 2338"/>
                  <a:gd name="T27" fmla="*/ 467 h 606"/>
                  <a:gd name="T28" fmla="*/ 1979 w 2338"/>
                  <a:gd name="T29" fmla="*/ 467 h 606"/>
                  <a:gd name="T30" fmla="*/ 1956 w 2338"/>
                  <a:gd name="T31" fmla="*/ 419 h 606"/>
                  <a:gd name="T32" fmla="*/ 1791 w 2338"/>
                  <a:gd name="T33" fmla="*/ 349 h 606"/>
                  <a:gd name="T34" fmla="*/ 1635 w 2338"/>
                  <a:gd name="T35" fmla="*/ 535 h 606"/>
                  <a:gd name="T36" fmla="*/ 1612 w 2338"/>
                  <a:gd name="T37" fmla="*/ 478 h 606"/>
                  <a:gd name="T38" fmla="*/ 1612 w 2338"/>
                  <a:gd name="T39" fmla="*/ 313 h 606"/>
                  <a:gd name="T40" fmla="*/ 1572 w 2338"/>
                  <a:gd name="T41" fmla="*/ 280 h 606"/>
                  <a:gd name="T42" fmla="*/ 1553 w 2338"/>
                  <a:gd name="T43" fmla="*/ 221 h 606"/>
                  <a:gd name="T44" fmla="*/ 1447 w 2338"/>
                  <a:gd name="T45" fmla="*/ 198 h 606"/>
                  <a:gd name="T46" fmla="*/ 1353 w 2338"/>
                  <a:gd name="T47" fmla="*/ 203 h 606"/>
                  <a:gd name="T48" fmla="*/ 1268 w 2338"/>
                  <a:gd name="T49" fmla="*/ 221 h 606"/>
                  <a:gd name="T50" fmla="*/ 1233 w 2338"/>
                  <a:gd name="T51" fmla="*/ 269 h 606"/>
                  <a:gd name="T52" fmla="*/ 1233 w 2338"/>
                  <a:gd name="T53" fmla="*/ 408 h 606"/>
                  <a:gd name="T54" fmla="*/ 1162 w 2338"/>
                  <a:gd name="T55" fmla="*/ 467 h 606"/>
                  <a:gd name="T56" fmla="*/ 1009 w 2338"/>
                  <a:gd name="T57" fmla="*/ 455 h 606"/>
                  <a:gd name="T58" fmla="*/ 891 w 2338"/>
                  <a:gd name="T59" fmla="*/ 443 h 606"/>
                  <a:gd name="T60" fmla="*/ 830 w 2338"/>
                  <a:gd name="T61" fmla="*/ 467 h 606"/>
                  <a:gd name="T62" fmla="*/ 700 w 2338"/>
                  <a:gd name="T63" fmla="*/ 547 h 606"/>
                  <a:gd name="T64" fmla="*/ 629 w 2338"/>
                  <a:gd name="T65" fmla="*/ 525 h 606"/>
                  <a:gd name="T66" fmla="*/ 606 w 2338"/>
                  <a:gd name="T67" fmla="*/ 525 h 606"/>
                  <a:gd name="T68" fmla="*/ 547 w 2338"/>
                  <a:gd name="T69" fmla="*/ 547 h 606"/>
                  <a:gd name="T70" fmla="*/ 474 w 2338"/>
                  <a:gd name="T71" fmla="*/ 525 h 606"/>
                  <a:gd name="T72" fmla="*/ 523 w 2338"/>
                  <a:gd name="T73" fmla="*/ 467 h 606"/>
                  <a:gd name="T74" fmla="*/ 474 w 2338"/>
                  <a:gd name="T75" fmla="*/ 313 h 606"/>
                  <a:gd name="T76" fmla="*/ 403 w 2338"/>
                  <a:gd name="T77" fmla="*/ 292 h 606"/>
                  <a:gd name="T78" fmla="*/ 250 w 2338"/>
                  <a:gd name="T79" fmla="*/ 221 h 606"/>
                  <a:gd name="T80" fmla="*/ 132 w 2338"/>
                  <a:gd name="T81" fmla="*/ 292 h 606"/>
                  <a:gd name="T82" fmla="*/ 47 w 2338"/>
                  <a:gd name="T83" fmla="*/ 349 h 606"/>
                  <a:gd name="T84" fmla="*/ 47 w 2338"/>
                  <a:gd name="T85" fmla="*/ 514 h 606"/>
                  <a:gd name="T86" fmla="*/ 0 w 2338"/>
                  <a:gd name="T87" fmla="*/ 570 h 606"/>
                  <a:gd name="T88" fmla="*/ 109 w 2338"/>
                  <a:gd name="T89" fmla="*/ 606 h 606"/>
                  <a:gd name="T90" fmla="*/ 262 w 2338"/>
                  <a:gd name="T91" fmla="*/ 606 h 606"/>
                  <a:gd name="T92" fmla="*/ 403 w 2338"/>
                  <a:gd name="T93" fmla="*/ 606 h 606"/>
                  <a:gd name="T94" fmla="*/ 547 w 2338"/>
                  <a:gd name="T95" fmla="*/ 606 h 606"/>
                  <a:gd name="T96" fmla="*/ 700 w 2338"/>
                  <a:gd name="T97" fmla="*/ 606 h 606"/>
                  <a:gd name="T98" fmla="*/ 841 w 2338"/>
                  <a:gd name="T99" fmla="*/ 606 h 606"/>
                  <a:gd name="T100" fmla="*/ 985 w 2338"/>
                  <a:gd name="T101" fmla="*/ 606 h 606"/>
                  <a:gd name="T102" fmla="*/ 1127 w 2338"/>
                  <a:gd name="T103" fmla="*/ 606 h 606"/>
                  <a:gd name="T104" fmla="*/ 1268 w 2338"/>
                  <a:gd name="T105" fmla="*/ 606 h 606"/>
                  <a:gd name="T106" fmla="*/ 1412 w 2338"/>
                  <a:gd name="T107" fmla="*/ 606 h 606"/>
                  <a:gd name="T108" fmla="*/ 1565 w 2338"/>
                  <a:gd name="T109" fmla="*/ 606 h 606"/>
                  <a:gd name="T110" fmla="*/ 1709 w 2338"/>
                  <a:gd name="T111" fmla="*/ 606 h 606"/>
                  <a:gd name="T112" fmla="*/ 1850 w 2338"/>
                  <a:gd name="T113" fmla="*/ 606 h 606"/>
                  <a:gd name="T114" fmla="*/ 1991 w 2338"/>
                  <a:gd name="T115" fmla="*/ 606 h 606"/>
                  <a:gd name="T116" fmla="*/ 2135 w 2338"/>
                  <a:gd name="T117" fmla="*/ 606 h 606"/>
                  <a:gd name="T118" fmla="*/ 2276 w 2338"/>
                  <a:gd name="T119" fmla="*/ 606 h 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38" h="606">
                    <a:moveTo>
                      <a:pt x="2338" y="490"/>
                    </a:moveTo>
                    <a:lnTo>
                      <a:pt x="2338" y="490"/>
                    </a:lnTo>
                    <a:lnTo>
                      <a:pt x="2335" y="490"/>
                    </a:lnTo>
                    <a:lnTo>
                      <a:pt x="2335" y="490"/>
                    </a:lnTo>
                    <a:lnTo>
                      <a:pt x="2335" y="488"/>
                    </a:lnTo>
                    <a:lnTo>
                      <a:pt x="2335" y="483"/>
                    </a:lnTo>
                    <a:lnTo>
                      <a:pt x="2335" y="478"/>
                    </a:lnTo>
                    <a:lnTo>
                      <a:pt x="2335" y="478"/>
                    </a:lnTo>
                    <a:lnTo>
                      <a:pt x="2328" y="478"/>
                    </a:lnTo>
                    <a:lnTo>
                      <a:pt x="2323" y="478"/>
                    </a:lnTo>
                    <a:lnTo>
                      <a:pt x="2323" y="478"/>
                    </a:lnTo>
                    <a:lnTo>
                      <a:pt x="2323" y="471"/>
                    </a:lnTo>
                    <a:lnTo>
                      <a:pt x="2323" y="467"/>
                    </a:lnTo>
                    <a:lnTo>
                      <a:pt x="2323" y="467"/>
                    </a:lnTo>
                    <a:lnTo>
                      <a:pt x="2323" y="455"/>
                    </a:lnTo>
                    <a:lnTo>
                      <a:pt x="2323" y="455"/>
                    </a:lnTo>
                    <a:lnTo>
                      <a:pt x="2323" y="431"/>
                    </a:lnTo>
                    <a:lnTo>
                      <a:pt x="2323" y="431"/>
                    </a:lnTo>
                    <a:lnTo>
                      <a:pt x="2323" y="408"/>
                    </a:lnTo>
                    <a:lnTo>
                      <a:pt x="2323" y="408"/>
                    </a:lnTo>
                    <a:lnTo>
                      <a:pt x="2312" y="408"/>
                    </a:lnTo>
                    <a:lnTo>
                      <a:pt x="2312" y="408"/>
                    </a:lnTo>
                    <a:lnTo>
                      <a:pt x="2300" y="408"/>
                    </a:lnTo>
                    <a:lnTo>
                      <a:pt x="2300" y="408"/>
                    </a:lnTo>
                    <a:lnTo>
                      <a:pt x="2288" y="408"/>
                    </a:lnTo>
                    <a:lnTo>
                      <a:pt x="2288" y="408"/>
                    </a:lnTo>
                    <a:lnTo>
                      <a:pt x="2276" y="408"/>
                    </a:lnTo>
                    <a:lnTo>
                      <a:pt x="2276" y="408"/>
                    </a:lnTo>
                    <a:lnTo>
                      <a:pt x="2269" y="408"/>
                    </a:lnTo>
                    <a:lnTo>
                      <a:pt x="2265" y="408"/>
                    </a:lnTo>
                    <a:lnTo>
                      <a:pt x="2265" y="408"/>
                    </a:lnTo>
                    <a:lnTo>
                      <a:pt x="2265" y="412"/>
                    </a:lnTo>
                    <a:lnTo>
                      <a:pt x="2265" y="419"/>
                    </a:lnTo>
                    <a:lnTo>
                      <a:pt x="2265" y="419"/>
                    </a:lnTo>
                    <a:lnTo>
                      <a:pt x="2262" y="419"/>
                    </a:lnTo>
                    <a:lnTo>
                      <a:pt x="2257" y="419"/>
                    </a:lnTo>
                    <a:lnTo>
                      <a:pt x="2253" y="419"/>
                    </a:lnTo>
                    <a:lnTo>
                      <a:pt x="2253" y="419"/>
                    </a:lnTo>
                    <a:lnTo>
                      <a:pt x="2253" y="372"/>
                    </a:lnTo>
                    <a:lnTo>
                      <a:pt x="2253" y="372"/>
                    </a:lnTo>
                    <a:lnTo>
                      <a:pt x="2253" y="325"/>
                    </a:lnTo>
                    <a:lnTo>
                      <a:pt x="2253" y="325"/>
                    </a:lnTo>
                    <a:lnTo>
                      <a:pt x="2253" y="313"/>
                    </a:lnTo>
                    <a:lnTo>
                      <a:pt x="2253" y="313"/>
                    </a:lnTo>
                    <a:lnTo>
                      <a:pt x="2253" y="292"/>
                    </a:lnTo>
                    <a:lnTo>
                      <a:pt x="2253" y="292"/>
                    </a:lnTo>
                    <a:lnTo>
                      <a:pt x="2253" y="280"/>
                    </a:lnTo>
                    <a:lnTo>
                      <a:pt x="2253" y="280"/>
                    </a:lnTo>
                    <a:lnTo>
                      <a:pt x="2253" y="257"/>
                    </a:lnTo>
                    <a:lnTo>
                      <a:pt x="2253" y="257"/>
                    </a:lnTo>
                    <a:lnTo>
                      <a:pt x="2253" y="245"/>
                    </a:lnTo>
                    <a:lnTo>
                      <a:pt x="2253" y="245"/>
                    </a:lnTo>
                    <a:lnTo>
                      <a:pt x="2253" y="221"/>
                    </a:lnTo>
                    <a:lnTo>
                      <a:pt x="2253" y="221"/>
                    </a:lnTo>
                    <a:lnTo>
                      <a:pt x="2253" y="210"/>
                    </a:lnTo>
                    <a:lnTo>
                      <a:pt x="2253" y="210"/>
                    </a:lnTo>
                    <a:lnTo>
                      <a:pt x="2253" y="186"/>
                    </a:lnTo>
                    <a:lnTo>
                      <a:pt x="2253" y="186"/>
                    </a:lnTo>
                    <a:lnTo>
                      <a:pt x="2253" y="174"/>
                    </a:lnTo>
                    <a:lnTo>
                      <a:pt x="2253" y="174"/>
                    </a:lnTo>
                    <a:lnTo>
                      <a:pt x="2253" y="151"/>
                    </a:lnTo>
                    <a:lnTo>
                      <a:pt x="2253" y="151"/>
                    </a:lnTo>
                    <a:lnTo>
                      <a:pt x="2253" y="127"/>
                    </a:lnTo>
                    <a:lnTo>
                      <a:pt x="2253" y="127"/>
                    </a:lnTo>
                    <a:lnTo>
                      <a:pt x="2253" y="80"/>
                    </a:lnTo>
                    <a:lnTo>
                      <a:pt x="2253" y="80"/>
                    </a:lnTo>
                    <a:lnTo>
                      <a:pt x="2253" y="68"/>
                    </a:lnTo>
                    <a:lnTo>
                      <a:pt x="2253" y="68"/>
                    </a:lnTo>
                    <a:lnTo>
                      <a:pt x="2246" y="71"/>
                    </a:lnTo>
                    <a:lnTo>
                      <a:pt x="2241" y="68"/>
                    </a:lnTo>
                    <a:lnTo>
                      <a:pt x="2241" y="68"/>
                    </a:lnTo>
                    <a:lnTo>
                      <a:pt x="2241" y="64"/>
                    </a:lnTo>
                    <a:lnTo>
                      <a:pt x="2241" y="59"/>
                    </a:lnTo>
                    <a:lnTo>
                      <a:pt x="2241" y="59"/>
                    </a:lnTo>
                    <a:lnTo>
                      <a:pt x="2239" y="57"/>
                    </a:lnTo>
                    <a:lnTo>
                      <a:pt x="2234" y="57"/>
                    </a:lnTo>
                    <a:lnTo>
                      <a:pt x="2232" y="59"/>
                    </a:lnTo>
                    <a:lnTo>
                      <a:pt x="2229" y="59"/>
                    </a:lnTo>
                    <a:lnTo>
                      <a:pt x="2229" y="59"/>
                    </a:lnTo>
                    <a:lnTo>
                      <a:pt x="2229" y="57"/>
                    </a:lnTo>
                    <a:lnTo>
                      <a:pt x="2229" y="52"/>
                    </a:lnTo>
                    <a:lnTo>
                      <a:pt x="2229" y="49"/>
                    </a:lnTo>
                    <a:lnTo>
                      <a:pt x="2229" y="47"/>
                    </a:lnTo>
                    <a:lnTo>
                      <a:pt x="2229" y="47"/>
                    </a:lnTo>
                    <a:lnTo>
                      <a:pt x="2227" y="45"/>
                    </a:lnTo>
                    <a:lnTo>
                      <a:pt x="2222" y="47"/>
                    </a:lnTo>
                    <a:lnTo>
                      <a:pt x="2220" y="47"/>
                    </a:lnTo>
                    <a:lnTo>
                      <a:pt x="2217" y="47"/>
                    </a:lnTo>
                    <a:lnTo>
                      <a:pt x="2217" y="47"/>
                    </a:lnTo>
                    <a:lnTo>
                      <a:pt x="2217" y="45"/>
                    </a:lnTo>
                    <a:lnTo>
                      <a:pt x="2217" y="40"/>
                    </a:lnTo>
                    <a:lnTo>
                      <a:pt x="2217" y="38"/>
                    </a:lnTo>
                    <a:lnTo>
                      <a:pt x="2217" y="35"/>
                    </a:lnTo>
                    <a:lnTo>
                      <a:pt x="2217" y="35"/>
                    </a:lnTo>
                    <a:lnTo>
                      <a:pt x="2215" y="33"/>
                    </a:lnTo>
                    <a:lnTo>
                      <a:pt x="2210" y="35"/>
                    </a:lnTo>
                    <a:lnTo>
                      <a:pt x="2206" y="35"/>
                    </a:lnTo>
                    <a:lnTo>
                      <a:pt x="2206" y="35"/>
                    </a:lnTo>
                    <a:lnTo>
                      <a:pt x="2206" y="28"/>
                    </a:lnTo>
                    <a:lnTo>
                      <a:pt x="2206" y="26"/>
                    </a:lnTo>
                    <a:lnTo>
                      <a:pt x="2206" y="24"/>
                    </a:lnTo>
                    <a:lnTo>
                      <a:pt x="2206" y="24"/>
                    </a:lnTo>
                    <a:lnTo>
                      <a:pt x="2199" y="24"/>
                    </a:lnTo>
                    <a:lnTo>
                      <a:pt x="2196" y="24"/>
                    </a:lnTo>
                    <a:lnTo>
                      <a:pt x="2194" y="24"/>
                    </a:lnTo>
                    <a:lnTo>
                      <a:pt x="2194" y="24"/>
                    </a:lnTo>
                    <a:lnTo>
                      <a:pt x="2192" y="21"/>
                    </a:lnTo>
                    <a:lnTo>
                      <a:pt x="2194" y="16"/>
                    </a:lnTo>
                    <a:lnTo>
                      <a:pt x="2194" y="12"/>
                    </a:lnTo>
                    <a:lnTo>
                      <a:pt x="2194" y="12"/>
                    </a:lnTo>
                    <a:lnTo>
                      <a:pt x="2187" y="12"/>
                    </a:lnTo>
                    <a:lnTo>
                      <a:pt x="2182" y="12"/>
                    </a:lnTo>
                    <a:lnTo>
                      <a:pt x="2182" y="12"/>
                    </a:lnTo>
                    <a:lnTo>
                      <a:pt x="2180" y="9"/>
                    </a:lnTo>
                    <a:lnTo>
                      <a:pt x="2182" y="5"/>
                    </a:lnTo>
                    <a:lnTo>
                      <a:pt x="2182" y="0"/>
                    </a:lnTo>
                    <a:lnTo>
                      <a:pt x="2182" y="0"/>
                    </a:lnTo>
                    <a:lnTo>
                      <a:pt x="2170" y="0"/>
                    </a:lnTo>
                    <a:lnTo>
                      <a:pt x="2170" y="0"/>
                    </a:lnTo>
                    <a:lnTo>
                      <a:pt x="2163" y="0"/>
                    </a:lnTo>
                    <a:lnTo>
                      <a:pt x="2159" y="0"/>
                    </a:lnTo>
                    <a:lnTo>
                      <a:pt x="2159" y="0"/>
                    </a:lnTo>
                    <a:lnTo>
                      <a:pt x="2159" y="5"/>
                    </a:lnTo>
                    <a:lnTo>
                      <a:pt x="2159" y="12"/>
                    </a:lnTo>
                    <a:lnTo>
                      <a:pt x="2159" y="12"/>
                    </a:lnTo>
                    <a:lnTo>
                      <a:pt x="2156" y="12"/>
                    </a:lnTo>
                    <a:lnTo>
                      <a:pt x="2151" y="12"/>
                    </a:lnTo>
                    <a:lnTo>
                      <a:pt x="2147" y="12"/>
                    </a:lnTo>
                    <a:lnTo>
                      <a:pt x="2147" y="12"/>
                    </a:lnTo>
                    <a:lnTo>
                      <a:pt x="2144" y="14"/>
                    </a:lnTo>
                    <a:lnTo>
                      <a:pt x="2147" y="16"/>
                    </a:lnTo>
                    <a:lnTo>
                      <a:pt x="2147" y="24"/>
                    </a:lnTo>
                    <a:lnTo>
                      <a:pt x="2147" y="24"/>
                    </a:lnTo>
                    <a:lnTo>
                      <a:pt x="2144" y="24"/>
                    </a:lnTo>
                    <a:lnTo>
                      <a:pt x="2140" y="24"/>
                    </a:lnTo>
                    <a:lnTo>
                      <a:pt x="2137" y="21"/>
                    </a:lnTo>
                    <a:lnTo>
                      <a:pt x="2135" y="24"/>
                    </a:lnTo>
                    <a:lnTo>
                      <a:pt x="2135" y="24"/>
                    </a:lnTo>
                    <a:lnTo>
                      <a:pt x="2133" y="26"/>
                    </a:lnTo>
                    <a:lnTo>
                      <a:pt x="2135" y="28"/>
                    </a:lnTo>
                    <a:lnTo>
                      <a:pt x="2135" y="33"/>
                    </a:lnTo>
                    <a:lnTo>
                      <a:pt x="2135" y="35"/>
                    </a:lnTo>
                    <a:lnTo>
                      <a:pt x="2135" y="35"/>
                    </a:lnTo>
                    <a:lnTo>
                      <a:pt x="2133" y="35"/>
                    </a:lnTo>
                    <a:lnTo>
                      <a:pt x="2128" y="35"/>
                    </a:lnTo>
                    <a:lnTo>
                      <a:pt x="2123" y="35"/>
                    </a:lnTo>
                    <a:lnTo>
                      <a:pt x="2123" y="35"/>
                    </a:lnTo>
                    <a:lnTo>
                      <a:pt x="2123" y="40"/>
                    </a:lnTo>
                    <a:lnTo>
                      <a:pt x="2123" y="47"/>
                    </a:lnTo>
                    <a:lnTo>
                      <a:pt x="2123" y="47"/>
                    </a:lnTo>
                    <a:lnTo>
                      <a:pt x="2116" y="47"/>
                    </a:lnTo>
                    <a:lnTo>
                      <a:pt x="2111" y="47"/>
                    </a:lnTo>
                    <a:lnTo>
                      <a:pt x="2111" y="47"/>
                    </a:lnTo>
                    <a:lnTo>
                      <a:pt x="2109" y="49"/>
                    </a:lnTo>
                    <a:lnTo>
                      <a:pt x="2109" y="52"/>
                    </a:lnTo>
                    <a:lnTo>
                      <a:pt x="2111" y="59"/>
                    </a:lnTo>
                    <a:lnTo>
                      <a:pt x="2111" y="59"/>
                    </a:lnTo>
                    <a:lnTo>
                      <a:pt x="2085" y="59"/>
                    </a:lnTo>
                    <a:lnTo>
                      <a:pt x="2085" y="59"/>
                    </a:lnTo>
                    <a:lnTo>
                      <a:pt x="2085" y="68"/>
                    </a:lnTo>
                    <a:lnTo>
                      <a:pt x="2085" y="68"/>
                    </a:lnTo>
                    <a:lnTo>
                      <a:pt x="2085" y="92"/>
                    </a:lnTo>
                    <a:lnTo>
                      <a:pt x="2085" y="92"/>
                    </a:lnTo>
                    <a:lnTo>
                      <a:pt x="2085" y="104"/>
                    </a:lnTo>
                    <a:lnTo>
                      <a:pt x="2085" y="104"/>
                    </a:lnTo>
                    <a:lnTo>
                      <a:pt x="2088" y="111"/>
                    </a:lnTo>
                    <a:lnTo>
                      <a:pt x="2085" y="115"/>
                    </a:lnTo>
                    <a:lnTo>
                      <a:pt x="2085" y="115"/>
                    </a:lnTo>
                    <a:lnTo>
                      <a:pt x="2081" y="115"/>
                    </a:lnTo>
                    <a:lnTo>
                      <a:pt x="2074" y="115"/>
                    </a:lnTo>
                    <a:lnTo>
                      <a:pt x="2074" y="115"/>
                    </a:lnTo>
                    <a:lnTo>
                      <a:pt x="2074" y="127"/>
                    </a:lnTo>
                    <a:lnTo>
                      <a:pt x="2074" y="127"/>
                    </a:lnTo>
                    <a:lnTo>
                      <a:pt x="2074" y="139"/>
                    </a:lnTo>
                    <a:lnTo>
                      <a:pt x="2074" y="139"/>
                    </a:lnTo>
                    <a:lnTo>
                      <a:pt x="2074" y="163"/>
                    </a:lnTo>
                    <a:lnTo>
                      <a:pt x="2074" y="163"/>
                    </a:lnTo>
                    <a:lnTo>
                      <a:pt x="2074" y="174"/>
                    </a:lnTo>
                    <a:lnTo>
                      <a:pt x="2074" y="174"/>
                    </a:lnTo>
                    <a:lnTo>
                      <a:pt x="2074" y="198"/>
                    </a:lnTo>
                    <a:lnTo>
                      <a:pt x="2074" y="198"/>
                    </a:lnTo>
                    <a:lnTo>
                      <a:pt x="2074" y="221"/>
                    </a:lnTo>
                    <a:lnTo>
                      <a:pt x="2074" y="221"/>
                    </a:lnTo>
                    <a:lnTo>
                      <a:pt x="2069" y="221"/>
                    </a:lnTo>
                    <a:lnTo>
                      <a:pt x="2062" y="221"/>
                    </a:lnTo>
                    <a:lnTo>
                      <a:pt x="2062" y="221"/>
                    </a:lnTo>
                    <a:lnTo>
                      <a:pt x="2062" y="226"/>
                    </a:lnTo>
                    <a:lnTo>
                      <a:pt x="2062" y="233"/>
                    </a:lnTo>
                    <a:lnTo>
                      <a:pt x="2062" y="233"/>
                    </a:lnTo>
                    <a:lnTo>
                      <a:pt x="2062" y="245"/>
                    </a:lnTo>
                    <a:lnTo>
                      <a:pt x="2062" y="245"/>
                    </a:lnTo>
                    <a:lnTo>
                      <a:pt x="2062" y="257"/>
                    </a:lnTo>
                    <a:lnTo>
                      <a:pt x="2062" y="257"/>
                    </a:lnTo>
                    <a:lnTo>
                      <a:pt x="2038" y="257"/>
                    </a:lnTo>
                    <a:lnTo>
                      <a:pt x="2038" y="257"/>
                    </a:lnTo>
                    <a:lnTo>
                      <a:pt x="2038" y="280"/>
                    </a:lnTo>
                    <a:lnTo>
                      <a:pt x="2038" y="280"/>
                    </a:lnTo>
                    <a:lnTo>
                      <a:pt x="2038" y="292"/>
                    </a:lnTo>
                    <a:lnTo>
                      <a:pt x="2038" y="292"/>
                    </a:lnTo>
                    <a:lnTo>
                      <a:pt x="2038" y="302"/>
                    </a:lnTo>
                    <a:lnTo>
                      <a:pt x="2038" y="302"/>
                    </a:lnTo>
                    <a:lnTo>
                      <a:pt x="2038" y="313"/>
                    </a:lnTo>
                    <a:lnTo>
                      <a:pt x="2038" y="313"/>
                    </a:lnTo>
                    <a:lnTo>
                      <a:pt x="2038" y="320"/>
                    </a:lnTo>
                    <a:lnTo>
                      <a:pt x="2038" y="325"/>
                    </a:lnTo>
                    <a:lnTo>
                      <a:pt x="2038" y="325"/>
                    </a:lnTo>
                    <a:lnTo>
                      <a:pt x="2036" y="328"/>
                    </a:lnTo>
                    <a:lnTo>
                      <a:pt x="2034" y="325"/>
                    </a:lnTo>
                    <a:lnTo>
                      <a:pt x="2027" y="325"/>
                    </a:lnTo>
                    <a:lnTo>
                      <a:pt x="2027" y="325"/>
                    </a:lnTo>
                    <a:lnTo>
                      <a:pt x="2027" y="349"/>
                    </a:lnTo>
                    <a:lnTo>
                      <a:pt x="2027" y="349"/>
                    </a:lnTo>
                    <a:lnTo>
                      <a:pt x="2027" y="361"/>
                    </a:lnTo>
                    <a:lnTo>
                      <a:pt x="2027" y="361"/>
                    </a:lnTo>
                    <a:lnTo>
                      <a:pt x="2027" y="384"/>
                    </a:lnTo>
                    <a:lnTo>
                      <a:pt x="2027" y="384"/>
                    </a:lnTo>
                    <a:lnTo>
                      <a:pt x="2027" y="431"/>
                    </a:lnTo>
                    <a:lnTo>
                      <a:pt x="2027" y="431"/>
                    </a:lnTo>
                    <a:lnTo>
                      <a:pt x="2027" y="443"/>
                    </a:lnTo>
                    <a:lnTo>
                      <a:pt x="2027" y="443"/>
                    </a:lnTo>
                    <a:lnTo>
                      <a:pt x="2027" y="455"/>
                    </a:lnTo>
                    <a:lnTo>
                      <a:pt x="2027" y="455"/>
                    </a:lnTo>
                    <a:lnTo>
                      <a:pt x="2027" y="467"/>
                    </a:lnTo>
                    <a:lnTo>
                      <a:pt x="2027" y="467"/>
                    </a:lnTo>
                    <a:lnTo>
                      <a:pt x="2027" y="471"/>
                    </a:lnTo>
                    <a:lnTo>
                      <a:pt x="2027" y="478"/>
                    </a:lnTo>
                    <a:lnTo>
                      <a:pt x="2027" y="478"/>
                    </a:lnTo>
                    <a:lnTo>
                      <a:pt x="2024" y="478"/>
                    </a:lnTo>
                    <a:lnTo>
                      <a:pt x="2022" y="478"/>
                    </a:lnTo>
                    <a:lnTo>
                      <a:pt x="2015" y="478"/>
                    </a:lnTo>
                    <a:lnTo>
                      <a:pt x="2015" y="478"/>
                    </a:lnTo>
                    <a:lnTo>
                      <a:pt x="2003" y="478"/>
                    </a:lnTo>
                    <a:lnTo>
                      <a:pt x="2003" y="478"/>
                    </a:lnTo>
                    <a:lnTo>
                      <a:pt x="1998" y="478"/>
                    </a:lnTo>
                    <a:lnTo>
                      <a:pt x="1991" y="478"/>
                    </a:lnTo>
                    <a:lnTo>
                      <a:pt x="1991" y="478"/>
                    </a:lnTo>
                    <a:lnTo>
                      <a:pt x="1991" y="471"/>
                    </a:lnTo>
                    <a:lnTo>
                      <a:pt x="1991" y="467"/>
                    </a:lnTo>
                    <a:lnTo>
                      <a:pt x="1991" y="467"/>
                    </a:lnTo>
                    <a:lnTo>
                      <a:pt x="1979" y="467"/>
                    </a:lnTo>
                    <a:lnTo>
                      <a:pt x="1979" y="467"/>
                    </a:lnTo>
                    <a:lnTo>
                      <a:pt x="1968" y="467"/>
                    </a:lnTo>
                    <a:lnTo>
                      <a:pt x="1968" y="467"/>
                    </a:lnTo>
                    <a:lnTo>
                      <a:pt x="1968" y="459"/>
                    </a:lnTo>
                    <a:lnTo>
                      <a:pt x="1968" y="455"/>
                    </a:lnTo>
                    <a:lnTo>
                      <a:pt x="1968" y="455"/>
                    </a:lnTo>
                    <a:lnTo>
                      <a:pt x="1968" y="443"/>
                    </a:lnTo>
                    <a:lnTo>
                      <a:pt x="1968" y="443"/>
                    </a:lnTo>
                    <a:lnTo>
                      <a:pt x="1968" y="431"/>
                    </a:lnTo>
                    <a:lnTo>
                      <a:pt x="1968" y="431"/>
                    </a:lnTo>
                    <a:lnTo>
                      <a:pt x="1968" y="424"/>
                    </a:lnTo>
                    <a:lnTo>
                      <a:pt x="1968" y="419"/>
                    </a:lnTo>
                    <a:lnTo>
                      <a:pt x="1968" y="419"/>
                    </a:lnTo>
                    <a:lnTo>
                      <a:pt x="1965" y="419"/>
                    </a:lnTo>
                    <a:lnTo>
                      <a:pt x="1963" y="419"/>
                    </a:lnTo>
                    <a:lnTo>
                      <a:pt x="1956" y="419"/>
                    </a:lnTo>
                    <a:lnTo>
                      <a:pt x="1956" y="419"/>
                    </a:lnTo>
                    <a:lnTo>
                      <a:pt x="1956" y="396"/>
                    </a:lnTo>
                    <a:lnTo>
                      <a:pt x="1956" y="396"/>
                    </a:lnTo>
                    <a:lnTo>
                      <a:pt x="1909" y="396"/>
                    </a:lnTo>
                    <a:lnTo>
                      <a:pt x="1909" y="396"/>
                    </a:lnTo>
                    <a:lnTo>
                      <a:pt x="1885" y="396"/>
                    </a:lnTo>
                    <a:lnTo>
                      <a:pt x="1885" y="396"/>
                    </a:lnTo>
                    <a:lnTo>
                      <a:pt x="1885" y="349"/>
                    </a:lnTo>
                    <a:lnTo>
                      <a:pt x="1885" y="349"/>
                    </a:lnTo>
                    <a:lnTo>
                      <a:pt x="1873" y="349"/>
                    </a:lnTo>
                    <a:lnTo>
                      <a:pt x="1873" y="349"/>
                    </a:lnTo>
                    <a:lnTo>
                      <a:pt x="1850" y="349"/>
                    </a:lnTo>
                    <a:lnTo>
                      <a:pt x="1850" y="349"/>
                    </a:lnTo>
                    <a:lnTo>
                      <a:pt x="1803" y="349"/>
                    </a:lnTo>
                    <a:lnTo>
                      <a:pt x="1803" y="349"/>
                    </a:lnTo>
                    <a:lnTo>
                      <a:pt x="1791" y="349"/>
                    </a:lnTo>
                    <a:lnTo>
                      <a:pt x="1791" y="349"/>
                    </a:lnTo>
                    <a:lnTo>
                      <a:pt x="1767" y="349"/>
                    </a:lnTo>
                    <a:lnTo>
                      <a:pt x="1767" y="349"/>
                    </a:lnTo>
                    <a:lnTo>
                      <a:pt x="1720" y="349"/>
                    </a:lnTo>
                    <a:lnTo>
                      <a:pt x="1720" y="349"/>
                    </a:lnTo>
                    <a:lnTo>
                      <a:pt x="1720" y="396"/>
                    </a:lnTo>
                    <a:lnTo>
                      <a:pt x="1720" y="396"/>
                    </a:lnTo>
                    <a:lnTo>
                      <a:pt x="1720" y="490"/>
                    </a:lnTo>
                    <a:lnTo>
                      <a:pt x="1720" y="490"/>
                    </a:lnTo>
                    <a:lnTo>
                      <a:pt x="1720" y="535"/>
                    </a:lnTo>
                    <a:lnTo>
                      <a:pt x="1720" y="535"/>
                    </a:lnTo>
                    <a:lnTo>
                      <a:pt x="1709" y="535"/>
                    </a:lnTo>
                    <a:lnTo>
                      <a:pt x="1709" y="535"/>
                    </a:lnTo>
                    <a:lnTo>
                      <a:pt x="1659" y="535"/>
                    </a:lnTo>
                    <a:lnTo>
                      <a:pt x="1659" y="535"/>
                    </a:lnTo>
                    <a:lnTo>
                      <a:pt x="1635" y="535"/>
                    </a:lnTo>
                    <a:lnTo>
                      <a:pt x="1635" y="535"/>
                    </a:lnTo>
                    <a:lnTo>
                      <a:pt x="1635" y="525"/>
                    </a:lnTo>
                    <a:lnTo>
                      <a:pt x="1635" y="525"/>
                    </a:lnTo>
                    <a:lnTo>
                      <a:pt x="1635" y="514"/>
                    </a:lnTo>
                    <a:lnTo>
                      <a:pt x="1635" y="514"/>
                    </a:lnTo>
                    <a:lnTo>
                      <a:pt x="1635" y="502"/>
                    </a:lnTo>
                    <a:lnTo>
                      <a:pt x="1635" y="502"/>
                    </a:lnTo>
                    <a:lnTo>
                      <a:pt x="1635" y="490"/>
                    </a:lnTo>
                    <a:lnTo>
                      <a:pt x="1635" y="490"/>
                    </a:lnTo>
                    <a:lnTo>
                      <a:pt x="1638" y="483"/>
                    </a:lnTo>
                    <a:lnTo>
                      <a:pt x="1635" y="478"/>
                    </a:lnTo>
                    <a:lnTo>
                      <a:pt x="1635" y="478"/>
                    </a:lnTo>
                    <a:lnTo>
                      <a:pt x="1631" y="478"/>
                    </a:lnTo>
                    <a:lnTo>
                      <a:pt x="1624" y="478"/>
                    </a:lnTo>
                    <a:lnTo>
                      <a:pt x="1624" y="478"/>
                    </a:lnTo>
                    <a:lnTo>
                      <a:pt x="1612" y="478"/>
                    </a:lnTo>
                    <a:lnTo>
                      <a:pt x="1612" y="478"/>
                    </a:lnTo>
                    <a:lnTo>
                      <a:pt x="1612" y="455"/>
                    </a:lnTo>
                    <a:lnTo>
                      <a:pt x="1612" y="455"/>
                    </a:lnTo>
                    <a:lnTo>
                      <a:pt x="1612" y="431"/>
                    </a:lnTo>
                    <a:lnTo>
                      <a:pt x="1612" y="431"/>
                    </a:lnTo>
                    <a:lnTo>
                      <a:pt x="1612" y="419"/>
                    </a:lnTo>
                    <a:lnTo>
                      <a:pt x="1612" y="419"/>
                    </a:lnTo>
                    <a:lnTo>
                      <a:pt x="1612" y="396"/>
                    </a:lnTo>
                    <a:lnTo>
                      <a:pt x="1612" y="396"/>
                    </a:lnTo>
                    <a:lnTo>
                      <a:pt x="1612" y="349"/>
                    </a:lnTo>
                    <a:lnTo>
                      <a:pt x="1612" y="349"/>
                    </a:lnTo>
                    <a:lnTo>
                      <a:pt x="1612" y="325"/>
                    </a:lnTo>
                    <a:lnTo>
                      <a:pt x="1612" y="325"/>
                    </a:lnTo>
                    <a:lnTo>
                      <a:pt x="1612" y="320"/>
                    </a:lnTo>
                    <a:lnTo>
                      <a:pt x="1612" y="313"/>
                    </a:lnTo>
                    <a:lnTo>
                      <a:pt x="1612" y="313"/>
                    </a:lnTo>
                    <a:lnTo>
                      <a:pt x="1600" y="313"/>
                    </a:lnTo>
                    <a:lnTo>
                      <a:pt x="1600" y="313"/>
                    </a:lnTo>
                    <a:lnTo>
                      <a:pt x="1588" y="313"/>
                    </a:lnTo>
                    <a:lnTo>
                      <a:pt x="1588" y="313"/>
                    </a:lnTo>
                    <a:lnTo>
                      <a:pt x="1588" y="302"/>
                    </a:lnTo>
                    <a:lnTo>
                      <a:pt x="1588" y="302"/>
                    </a:lnTo>
                    <a:lnTo>
                      <a:pt x="1588" y="297"/>
                    </a:lnTo>
                    <a:lnTo>
                      <a:pt x="1588" y="292"/>
                    </a:lnTo>
                    <a:lnTo>
                      <a:pt x="1588" y="292"/>
                    </a:lnTo>
                    <a:lnTo>
                      <a:pt x="1584" y="292"/>
                    </a:lnTo>
                    <a:lnTo>
                      <a:pt x="1577" y="292"/>
                    </a:lnTo>
                    <a:lnTo>
                      <a:pt x="1577" y="292"/>
                    </a:lnTo>
                    <a:lnTo>
                      <a:pt x="1577" y="285"/>
                    </a:lnTo>
                    <a:lnTo>
                      <a:pt x="1577" y="280"/>
                    </a:lnTo>
                    <a:lnTo>
                      <a:pt x="1577" y="280"/>
                    </a:lnTo>
                    <a:lnTo>
                      <a:pt x="1572" y="280"/>
                    </a:lnTo>
                    <a:lnTo>
                      <a:pt x="1565" y="280"/>
                    </a:lnTo>
                    <a:lnTo>
                      <a:pt x="1565" y="280"/>
                    </a:lnTo>
                    <a:lnTo>
                      <a:pt x="1565" y="278"/>
                    </a:lnTo>
                    <a:lnTo>
                      <a:pt x="1565" y="273"/>
                    </a:lnTo>
                    <a:lnTo>
                      <a:pt x="1565" y="269"/>
                    </a:lnTo>
                    <a:lnTo>
                      <a:pt x="1565" y="269"/>
                    </a:lnTo>
                    <a:lnTo>
                      <a:pt x="1560" y="269"/>
                    </a:lnTo>
                    <a:lnTo>
                      <a:pt x="1555" y="269"/>
                    </a:lnTo>
                    <a:lnTo>
                      <a:pt x="1553" y="269"/>
                    </a:lnTo>
                    <a:lnTo>
                      <a:pt x="1553" y="269"/>
                    </a:lnTo>
                    <a:lnTo>
                      <a:pt x="1553" y="262"/>
                    </a:lnTo>
                    <a:lnTo>
                      <a:pt x="1553" y="257"/>
                    </a:lnTo>
                    <a:lnTo>
                      <a:pt x="1553" y="257"/>
                    </a:lnTo>
                    <a:lnTo>
                      <a:pt x="1553" y="245"/>
                    </a:lnTo>
                    <a:lnTo>
                      <a:pt x="1553" y="245"/>
                    </a:lnTo>
                    <a:lnTo>
                      <a:pt x="1553" y="221"/>
                    </a:lnTo>
                    <a:lnTo>
                      <a:pt x="1553" y="221"/>
                    </a:lnTo>
                    <a:lnTo>
                      <a:pt x="1541" y="221"/>
                    </a:lnTo>
                    <a:lnTo>
                      <a:pt x="1541" y="221"/>
                    </a:lnTo>
                    <a:lnTo>
                      <a:pt x="1518" y="221"/>
                    </a:lnTo>
                    <a:lnTo>
                      <a:pt x="1518" y="221"/>
                    </a:lnTo>
                    <a:lnTo>
                      <a:pt x="1471" y="221"/>
                    </a:lnTo>
                    <a:lnTo>
                      <a:pt x="1471" y="221"/>
                    </a:lnTo>
                    <a:lnTo>
                      <a:pt x="1459" y="221"/>
                    </a:lnTo>
                    <a:lnTo>
                      <a:pt x="1459" y="221"/>
                    </a:lnTo>
                    <a:lnTo>
                      <a:pt x="1459" y="210"/>
                    </a:lnTo>
                    <a:lnTo>
                      <a:pt x="1459" y="210"/>
                    </a:lnTo>
                    <a:lnTo>
                      <a:pt x="1459" y="203"/>
                    </a:lnTo>
                    <a:lnTo>
                      <a:pt x="1459" y="198"/>
                    </a:lnTo>
                    <a:lnTo>
                      <a:pt x="1459" y="198"/>
                    </a:lnTo>
                    <a:lnTo>
                      <a:pt x="1452" y="198"/>
                    </a:lnTo>
                    <a:lnTo>
                      <a:pt x="1447" y="198"/>
                    </a:lnTo>
                    <a:lnTo>
                      <a:pt x="1447" y="198"/>
                    </a:lnTo>
                    <a:lnTo>
                      <a:pt x="1435" y="198"/>
                    </a:lnTo>
                    <a:lnTo>
                      <a:pt x="1435" y="198"/>
                    </a:lnTo>
                    <a:lnTo>
                      <a:pt x="1423" y="198"/>
                    </a:lnTo>
                    <a:lnTo>
                      <a:pt x="1423" y="198"/>
                    </a:lnTo>
                    <a:lnTo>
                      <a:pt x="1412" y="198"/>
                    </a:lnTo>
                    <a:lnTo>
                      <a:pt x="1412" y="198"/>
                    </a:lnTo>
                    <a:lnTo>
                      <a:pt x="1388" y="198"/>
                    </a:lnTo>
                    <a:lnTo>
                      <a:pt x="1388" y="198"/>
                    </a:lnTo>
                    <a:lnTo>
                      <a:pt x="1365" y="198"/>
                    </a:lnTo>
                    <a:lnTo>
                      <a:pt x="1365" y="198"/>
                    </a:lnTo>
                    <a:lnTo>
                      <a:pt x="1357" y="198"/>
                    </a:lnTo>
                    <a:lnTo>
                      <a:pt x="1353" y="198"/>
                    </a:lnTo>
                    <a:lnTo>
                      <a:pt x="1353" y="198"/>
                    </a:lnTo>
                    <a:lnTo>
                      <a:pt x="1350" y="200"/>
                    </a:lnTo>
                    <a:lnTo>
                      <a:pt x="1353" y="203"/>
                    </a:lnTo>
                    <a:lnTo>
                      <a:pt x="1353" y="207"/>
                    </a:lnTo>
                    <a:lnTo>
                      <a:pt x="1353" y="210"/>
                    </a:lnTo>
                    <a:lnTo>
                      <a:pt x="1353" y="210"/>
                    </a:lnTo>
                    <a:lnTo>
                      <a:pt x="1350" y="210"/>
                    </a:lnTo>
                    <a:lnTo>
                      <a:pt x="1346" y="210"/>
                    </a:lnTo>
                    <a:lnTo>
                      <a:pt x="1343" y="210"/>
                    </a:lnTo>
                    <a:lnTo>
                      <a:pt x="1341" y="210"/>
                    </a:lnTo>
                    <a:lnTo>
                      <a:pt x="1341" y="210"/>
                    </a:lnTo>
                    <a:lnTo>
                      <a:pt x="1339" y="212"/>
                    </a:lnTo>
                    <a:lnTo>
                      <a:pt x="1341" y="214"/>
                    </a:lnTo>
                    <a:lnTo>
                      <a:pt x="1341" y="221"/>
                    </a:lnTo>
                    <a:lnTo>
                      <a:pt x="1341" y="221"/>
                    </a:lnTo>
                    <a:lnTo>
                      <a:pt x="1317" y="221"/>
                    </a:lnTo>
                    <a:lnTo>
                      <a:pt x="1317" y="221"/>
                    </a:lnTo>
                    <a:lnTo>
                      <a:pt x="1268" y="221"/>
                    </a:lnTo>
                    <a:lnTo>
                      <a:pt x="1268" y="221"/>
                    </a:lnTo>
                    <a:lnTo>
                      <a:pt x="1256" y="221"/>
                    </a:lnTo>
                    <a:lnTo>
                      <a:pt x="1256" y="221"/>
                    </a:lnTo>
                    <a:lnTo>
                      <a:pt x="1251" y="221"/>
                    </a:lnTo>
                    <a:lnTo>
                      <a:pt x="1244" y="221"/>
                    </a:lnTo>
                    <a:lnTo>
                      <a:pt x="1244" y="221"/>
                    </a:lnTo>
                    <a:lnTo>
                      <a:pt x="1244" y="226"/>
                    </a:lnTo>
                    <a:lnTo>
                      <a:pt x="1244" y="233"/>
                    </a:lnTo>
                    <a:lnTo>
                      <a:pt x="1244" y="233"/>
                    </a:lnTo>
                    <a:lnTo>
                      <a:pt x="1242" y="233"/>
                    </a:lnTo>
                    <a:lnTo>
                      <a:pt x="1240" y="233"/>
                    </a:lnTo>
                    <a:lnTo>
                      <a:pt x="1233" y="233"/>
                    </a:lnTo>
                    <a:lnTo>
                      <a:pt x="1233" y="233"/>
                    </a:lnTo>
                    <a:lnTo>
                      <a:pt x="1233" y="245"/>
                    </a:lnTo>
                    <a:lnTo>
                      <a:pt x="1233" y="245"/>
                    </a:lnTo>
                    <a:lnTo>
                      <a:pt x="1233" y="269"/>
                    </a:lnTo>
                    <a:lnTo>
                      <a:pt x="1233" y="269"/>
                    </a:lnTo>
                    <a:lnTo>
                      <a:pt x="1233" y="280"/>
                    </a:lnTo>
                    <a:lnTo>
                      <a:pt x="1233" y="280"/>
                    </a:lnTo>
                    <a:lnTo>
                      <a:pt x="1233" y="302"/>
                    </a:lnTo>
                    <a:lnTo>
                      <a:pt x="1233" y="302"/>
                    </a:lnTo>
                    <a:lnTo>
                      <a:pt x="1233" y="313"/>
                    </a:lnTo>
                    <a:lnTo>
                      <a:pt x="1233" y="313"/>
                    </a:lnTo>
                    <a:lnTo>
                      <a:pt x="1233" y="337"/>
                    </a:lnTo>
                    <a:lnTo>
                      <a:pt x="1233" y="337"/>
                    </a:lnTo>
                    <a:lnTo>
                      <a:pt x="1233" y="349"/>
                    </a:lnTo>
                    <a:lnTo>
                      <a:pt x="1233" y="349"/>
                    </a:lnTo>
                    <a:lnTo>
                      <a:pt x="1233" y="372"/>
                    </a:lnTo>
                    <a:lnTo>
                      <a:pt x="1233" y="372"/>
                    </a:lnTo>
                    <a:lnTo>
                      <a:pt x="1233" y="384"/>
                    </a:lnTo>
                    <a:lnTo>
                      <a:pt x="1233" y="384"/>
                    </a:lnTo>
                    <a:lnTo>
                      <a:pt x="1233" y="408"/>
                    </a:lnTo>
                    <a:lnTo>
                      <a:pt x="1233" y="408"/>
                    </a:lnTo>
                    <a:lnTo>
                      <a:pt x="1221" y="408"/>
                    </a:lnTo>
                    <a:lnTo>
                      <a:pt x="1221" y="408"/>
                    </a:lnTo>
                    <a:lnTo>
                      <a:pt x="1216" y="408"/>
                    </a:lnTo>
                    <a:lnTo>
                      <a:pt x="1209" y="408"/>
                    </a:lnTo>
                    <a:lnTo>
                      <a:pt x="1209" y="408"/>
                    </a:lnTo>
                    <a:lnTo>
                      <a:pt x="1209" y="415"/>
                    </a:lnTo>
                    <a:lnTo>
                      <a:pt x="1209" y="419"/>
                    </a:lnTo>
                    <a:lnTo>
                      <a:pt x="1209" y="419"/>
                    </a:lnTo>
                    <a:lnTo>
                      <a:pt x="1197" y="419"/>
                    </a:lnTo>
                    <a:lnTo>
                      <a:pt x="1197" y="419"/>
                    </a:lnTo>
                    <a:lnTo>
                      <a:pt x="1185" y="419"/>
                    </a:lnTo>
                    <a:lnTo>
                      <a:pt x="1185" y="419"/>
                    </a:lnTo>
                    <a:lnTo>
                      <a:pt x="1162" y="419"/>
                    </a:lnTo>
                    <a:lnTo>
                      <a:pt x="1162" y="419"/>
                    </a:lnTo>
                    <a:lnTo>
                      <a:pt x="1162" y="467"/>
                    </a:lnTo>
                    <a:lnTo>
                      <a:pt x="1162" y="467"/>
                    </a:lnTo>
                    <a:lnTo>
                      <a:pt x="1162" y="514"/>
                    </a:lnTo>
                    <a:lnTo>
                      <a:pt x="1162" y="514"/>
                    </a:lnTo>
                    <a:lnTo>
                      <a:pt x="1150" y="514"/>
                    </a:lnTo>
                    <a:lnTo>
                      <a:pt x="1150" y="514"/>
                    </a:lnTo>
                    <a:lnTo>
                      <a:pt x="1103" y="514"/>
                    </a:lnTo>
                    <a:lnTo>
                      <a:pt x="1103" y="514"/>
                    </a:lnTo>
                    <a:lnTo>
                      <a:pt x="1056" y="514"/>
                    </a:lnTo>
                    <a:lnTo>
                      <a:pt x="1056" y="514"/>
                    </a:lnTo>
                    <a:lnTo>
                      <a:pt x="1056" y="502"/>
                    </a:lnTo>
                    <a:lnTo>
                      <a:pt x="1056" y="502"/>
                    </a:lnTo>
                    <a:lnTo>
                      <a:pt x="1056" y="478"/>
                    </a:lnTo>
                    <a:lnTo>
                      <a:pt x="1056" y="478"/>
                    </a:lnTo>
                    <a:lnTo>
                      <a:pt x="1056" y="455"/>
                    </a:lnTo>
                    <a:lnTo>
                      <a:pt x="1056" y="455"/>
                    </a:lnTo>
                    <a:lnTo>
                      <a:pt x="1009" y="455"/>
                    </a:lnTo>
                    <a:lnTo>
                      <a:pt x="1009" y="455"/>
                    </a:lnTo>
                    <a:lnTo>
                      <a:pt x="997" y="455"/>
                    </a:lnTo>
                    <a:lnTo>
                      <a:pt x="997" y="455"/>
                    </a:lnTo>
                    <a:lnTo>
                      <a:pt x="990" y="455"/>
                    </a:lnTo>
                    <a:lnTo>
                      <a:pt x="985" y="455"/>
                    </a:lnTo>
                    <a:lnTo>
                      <a:pt x="985" y="455"/>
                    </a:lnTo>
                    <a:lnTo>
                      <a:pt x="985" y="448"/>
                    </a:lnTo>
                    <a:lnTo>
                      <a:pt x="985" y="443"/>
                    </a:lnTo>
                    <a:lnTo>
                      <a:pt x="985" y="443"/>
                    </a:lnTo>
                    <a:lnTo>
                      <a:pt x="978" y="443"/>
                    </a:lnTo>
                    <a:lnTo>
                      <a:pt x="973" y="443"/>
                    </a:lnTo>
                    <a:lnTo>
                      <a:pt x="973" y="443"/>
                    </a:lnTo>
                    <a:lnTo>
                      <a:pt x="962" y="443"/>
                    </a:lnTo>
                    <a:lnTo>
                      <a:pt x="962" y="443"/>
                    </a:lnTo>
                    <a:lnTo>
                      <a:pt x="914" y="443"/>
                    </a:lnTo>
                    <a:lnTo>
                      <a:pt x="914" y="443"/>
                    </a:lnTo>
                    <a:lnTo>
                      <a:pt x="891" y="443"/>
                    </a:lnTo>
                    <a:lnTo>
                      <a:pt x="891" y="443"/>
                    </a:lnTo>
                    <a:lnTo>
                      <a:pt x="877" y="443"/>
                    </a:lnTo>
                    <a:lnTo>
                      <a:pt x="877" y="443"/>
                    </a:lnTo>
                    <a:lnTo>
                      <a:pt x="865" y="443"/>
                    </a:lnTo>
                    <a:lnTo>
                      <a:pt x="865" y="443"/>
                    </a:lnTo>
                    <a:lnTo>
                      <a:pt x="853" y="443"/>
                    </a:lnTo>
                    <a:lnTo>
                      <a:pt x="853" y="443"/>
                    </a:lnTo>
                    <a:lnTo>
                      <a:pt x="841" y="443"/>
                    </a:lnTo>
                    <a:lnTo>
                      <a:pt x="841" y="443"/>
                    </a:lnTo>
                    <a:lnTo>
                      <a:pt x="841" y="455"/>
                    </a:lnTo>
                    <a:lnTo>
                      <a:pt x="841" y="455"/>
                    </a:lnTo>
                    <a:lnTo>
                      <a:pt x="844" y="459"/>
                    </a:lnTo>
                    <a:lnTo>
                      <a:pt x="841" y="467"/>
                    </a:lnTo>
                    <a:lnTo>
                      <a:pt x="841" y="467"/>
                    </a:lnTo>
                    <a:lnTo>
                      <a:pt x="837" y="467"/>
                    </a:lnTo>
                    <a:lnTo>
                      <a:pt x="830" y="467"/>
                    </a:lnTo>
                    <a:lnTo>
                      <a:pt x="830" y="467"/>
                    </a:lnTo>
                    <a:lnTo>
                      <a:pt x="783" y="467"/>
                    </a:lnTo>
                    <a:lnTo>
                      <a:pt x="783" y="467"/>
                    </a:lnTo>
                    <a:lnTo>
                      <a:pt x="783" y="490"/>
                    </a:lnTo>
                    <a:lnTo>
                      <a:pt x="783" y="490"/>
                    </a:lnTo>
                    <a:lnTo>
                      <a:pt x="783" y="502"/>
                    </a:lnTo>
                    <a:lnTo>
                      <a:pt x="783" y="502"/>
                    </a:lnTo>
                    <a:lnTo>
                      <a:pt x="783" y="525"/>
                    </a:lnTo>
                    <a:lnTo>
                      <a:pt x="783" y="525"/>
                    </a:lnTo>
                    <a:lnTo>
                      <a:pt x="771" y="525"/>
                    </a:lnTo>
                    <a:lnTo>
                      <a:pt x="771" y="525"/>
                    </a:lnTo>
                    <a:lnTo>
                      <a:pt x="747" y="525"/>
                    </a:lnTo>
                    <a:lnTo>
                      <a:pt x="747" y="525"/>
                    </a:lnTo>
                    <a:lnTo>
                      <a:pt x="700" y="525"/>
                    </a:lnTo>
                    <a:lnTo>
                      <a:pt x="700" y="525"/>
                    </a:lnTo>
                    <a:lnTo>
                      <a:pt x="700" y="547"/>
                    </a:lnTo>
                    <a:lnTo>
                      <a:pt x="700" y="547"/>
                    </a:lnTo>
                    <a:lnTo>
                      <a:pt x="676" y="547"/>
                    </a:lnTo>
                    <a:lnTo>
                      <a:pt x="676" y="547"/>
                    </a:lnTo>
                    <a:lnTo>
                      <a:pt x="653" y="547"/>
                    </a:lnTo>
                    <a:lnTo>
                      <a:pt x="653" y="547"/>
                    </a:lnTo>
                    <a:lnTo>
                      <a:pt x="653" y="535"/>
                    </a:lnTo>
                    <a:lnTo>
                      <a:pt x="653" y="535"/>
                    </a:lnTo>
                    <a:lnTo>
                      <a:pt x="653" y="530"/>
                    </a:lnTo>
                    <a:lnTo>
                      <a:pt x="653" y="525"/>
                    </a:lnTo>
                    <a:lnTo>
                      <a:pt x="653" y="525"/>
                    </a:lnTo>
                    <a:lnTo>
                      <a:pt x="648" y="523"/>
                    </a:lnTo>
                    <a:lnTo>
                      <a:pt x="641" y="525"/>
                    </a:lnTo>
                    <a:lnTo>
                      <a:pt x="641" y="525"/>
                    </a:lnTo>
                    <a:lnTo>
                      <a:pt x="634" y="523"/>
                    </a:lnTo>
                    <a:lnTo>
                      <a:pt x="629" y="525"/>
                    </a:lnTo>
                    <a:lnTo>
                      <a:pt x="629" y="525"/>
                    </a:lnTo>
                    <a:lnTo>
                      <a:pt x="629" y="530"/>
                    </a:lnTo>
                    <a:lnTo>
                      <a:pt x="629" y="535"/>
                    </a:lnTo>
                    <a:lnTo>
                      <a:pt x="629" y="535"/>
                    </a:lnTo>
                    <a:lnTo>
                      <a:pt x="622" y="537"/>
                    </a:lnTo>
                    <a:lnTo>
                      <a:pt x="618" y="535"/>
                    </a:lnTo>
                    <a:lnTo>
                      <a:pt x="618" y="535"/>
                    </a:lnTo>
                    <a:lnTo>
                      <a:pt x="618" y="537"/>
                    </a:lnTo>
                    <a:lnTo>
                      <a:pt x="618" y="542"/>
                    </a:lnTo>
                    <a:lnTo>
                      <a:pt x="618" y="547"/>
                    </a:lnTo>
                    <a:lnTo>
                      <a:pt x="618" y="547"/>
                    </a:lnTo>
                    <a:lnTo>
                      <a:pt x="611" y="547"/>
                    </a:lnTo>
                    <a:lnTo>
                      <a:pt x="606" y="547"/>
                    </a:lnTo>
                    <a:lnTo>
                      <a:pt x="606" y="547"/>
                    </a:lnTo>
                    <a:lnTo>
                      <a:pt x="606" y="535"/>
                    </a:lnTo>
                    <a:lnTo>
                      <a:pt x="606" y="535"/>
                    </a:lnTo>
                    <a:lnTo>
                      <a:pt x="606" y="525"/>
                    </a:lnTo>
                    <a:lnTo>
                      <a:pt x="606" y="525"/>
                    </a:lnTo>
                    <a:lnTo>
                      <a:pt x="594" y="525"/>
                    </a:lnTo>
                    <a:lnTo>
                      <a:pt x="594" y="525"/>
                    </a:lnTo>
                    <a:lnTo>
                      <a:pt x="582" y="525"/>
                    </a:lnTo>
                    <a:lnTo>
                      <a:pt x="582" y="525"/>
                    </a:lnTo>
                    <a:lnTo>
                      <a:pt x="570" y="525"/>
                    </a:lnTo>
                    <a:lnTo>
                      <a:pt x="570" y="525"/>
                    </a:lnTo>
                    <a:lnTo>
                      <a:pt x="559" y="525"/>
                    </a:lnTo>
                    <a:lnTo>
                      <a:pt x="559" y="525"/>
                    </a:lnTo>
                    <a:lnTo>
                      <a:pt x="552" y="523"/>
                    </a:lnTo>
                    <a:lnTo>
                      <a:pt x="547" y="525"/>
                    </a:lnTo>
                    <a:lnTo>
                      <a:pt x="547" y="525"/>
                    </a:lnTo>
                    <a:lnTo>
                      <a:pt x="545" y="530"/>
                    </a:lnTo>
                    <a:lnTo>
                      <a:pt x="547" y="535"/>
                    </a:lnTo>
                    <a:lnTo>
                      <a:pt x="547" y="535"/>
                    </a:lnTo>
                    <a:lnTo>
                      <a:pt x="547" y="547"/>
                    </a:lnTo>
                    <a:lnTo>
                      <a:pt x="547" y="547"/>
                    </a:lnTo>
                    <a:lnTo>
                      <a:pt x="523" y="547"/>
                    </a:lnTo>
                    <a:lnTo>
                      <a:pt x="523" y="547"/>
                    </a:lnTo>
                    <a:lnTo>
                      <a:pt x="523" y="535"/>
                    </a:lnTo>
                    <a:lnTo>
                      <a:pt x="523" y="535"/>
                    </a:lnTo>
                    <a:lnTo>
                      <a:pt x="523" y="530"/>
                    </a:lnTo>
                    <a:lnTo>
                      <a:pt x="523" y="525"/>
                    </a:lnTo>
                    <a:lnTo>
                      <a:pt x="523" y="525"/>
                    </a:lnTo>
                    <a:lnTo>
                      <a:pt x="516" y="523"/>
                    </a:lnTo>
                    <a:lnTo>
                      <a:pt x="512" y="525"/>
                    </a:lnTo>
                    <a:lnTo>
                      <a:pt x="512" y="525"/>
                    </a:lnTo>
                    <a:lnTo>
                      <a:pt x="504" y="523"/>
                    </a:lnTo>
                    <a:lnTo>
                      <a:pt x="500" y="525"/>
                    </a:lnTo>
                    <a:lnTo>
                      <a:pt x="500" y="525"/>
                    </a:lnTo>
                    <a:lnTo>
                      <a:pt x="474" y="525"/>
                    </a:lnTo>
                    <a:lnTo>
                      <a:pt x="474" y="525"/>
                    </a:lnTo>
                    <a:lnTo>
                      <a:pt x="474" y="518"/>
                    </a:lnTo>
                    <a:lnTo>
                      <a:pt x="474" y="516"/>
                    </a:lnTo>
                    <a:lnTo>
                      <a:pt x="474" y="514"/>
                    </a:lnTo>
                    <a:lnTo>
                      <a:pt x="474" y="514"/>
                    </a:lnTo>
                    <a:lnTo>
                      <a:pt x="481" y="511"/>
                    </a:lnTo>
                    <a:lnTo>
                      <a:pt x="488" y="514"/>
                    </a:lnTo>
                    <a:lnTo>
                      <a:pt x="488" y="514"/>
                    </a:lnTo>
                    <a:lnTo>
                      <a:pt x="512" y="514"/>
                    </a:lnTo>
                    <a:lnTo>
                      <a:pt x="512" y="514"/>
                    </a:lnTo>
                    <a:lnTo>
                      <a:pt x="535" y="514"/>
                    </a:lnTo>
                    <a:lnTo>
                      <a:pt x="535" y="514"/>
                    </a:lnTo>
                    <a:lnTo>
                      <a:pt x="535" y="467"/>
                    </a:lnTo>
                    <a:lnTo>
                      <a:pt x="535" y="467"/>
                    </a:lnTo>
                    <a:lnTo>
                      <a:pt x="528" y="467"/>
                    </a:lnTo>
                    <a:lnTo>
                      <a:pt x="523" y="467"/>
                    </a:lnTo>
                    <a:lnTo>
                      <a:pt x="523" y="467"/>
                    </a:lnTo>
                    <a:lnTo>
                      <a:pt x="523" y="478"/>
                    </a:lnTo>
                    <a:lnTo>
                      <a:pt x="523" y="478"/>
                    </a:lnTo>
                    <a:lnTo>
                      <a:pt x="474" y="478"/>
                    </a:lnTo>
                    <a:lnTo>
                      <a:pt x="474" y="478"/>
                    </a:lnTo>
                    <a:lnTo>
                      <a:pt x="474" y="467"/>
                    </a:lnTo>
                    <a:lnTo>
                      <a:pt x="474" y="467"/>
                    </a:lnTo>
                    <a:lnTo>
                      <a:pt x="474" y="443"/>
                    </a:lnTo>
                    <a:lnTo>
                      <a:pt x="474" y="443"/>
                    </a:lnTo>
                    <a:lnTo>
                      <a:pt x="474" y="431"/>
                    </a:lnTo>
                    <a:lnTo>
                      <a:pt x="474" y="431"/>
                    </a:lnTo>
                    <a:lnTo>
                      <a:pt x="474" y="408"/>
                    </a:lnTo>
                    <a:lnTo>
                      <a:pt x="474" y="408"/>
                    </a:lnTo>
                    <a:lnTo>
                      <a:pt x="474" y="361"/>
                    </a:lnTo>
                    <a:lnTo>
                      <a:pt x="474" y="361"/>
                    </a:lnTo>
                    <a:lnTo>
                      <a:pt x="474" y="313"/>
                    </a:lnTo>
                    <a:lnTo>
                      <a:pt x="474" y="313"/>
                    </a:lnTo>
                    <a:lnTo>
                      <a:pt x="450" y="313"/>
                    </a:lnTo>
                    <a:lnTo>
                      <a:pt x="450" y="313"/>
                    </a:lnTo>
                    <a:lnTo>
                      <a:pt x="439" y="313"/>
                    </a:lnTo>
                    <a:lnTo>
                      <a:pt x="439" y="313"/>
                    </a:lnTo>
                    <a:lnTo>
                      <a:pt x="427" y="313"/>
                    </a:lnTo>
                    <a:lnTo>
                      <a:pt x="427" y="313"/>
                    </a:lnTo>
                    <a:lnTo>
                      <a:pt x="422" y="316"/>
                    </a:lnTo>
                    <a:lnTo>
                      <a:pt x="415" y="313"/>
                    </a:lnTo>
                    <a:lnTo>
                      <a:pt x="415" y="313"/>
                    </a:lnTo>
                    <a:lnTo>
                      <a:pt x="410" y="316"/>
                    </a:lnTo>
                    <a:lnTo>
                      <a:pt x="403" y="313"/>
                    </a:lnTo>
                    <a:lnTo>
                      <a:pt x="403" y="313"/>
                    </a:lnTo>
                    <a:lnTo>
                      <a:pt x="403" y="302"/>
                    </a:lnTo>
                    <a:lnTo>
                      <a:pt x="403" y="302"/>
                    </a:lnTo>
                    <a:lnTo>
                      <a:pt x="403" y="292"/>
                    </a:lnTo>
                    <a:lnTo>
                      <a:pt x="403" y="292"/>
                    </a:lnTo>
                    <a:lnTo>
                      <a:pt x="380" y="292"/>
                    </a:lnTo>
                    <a:lnTo>
                      <a:pt x="380" y="292"/>
                    </a:lnTo>
                    <a:lnTo>
                      <a:pt x="332" y="292"/>
                    </a:lnTo>
                    <a:lnTo>
                      <a:pt x="332" y="292"/>
                    </a:lnTo>
                    <a:lnTo>
                      <a:pt x="321" y="292"/>
                    </a:lnTo>
                    <a:lnTo>
                      <a:pt x="321" y="292"/>
                    </a:lnTo>
                    <a:lnTo>
                      <a:pt x="297" y="292"/>
                    </a:lnTo>
                    <a:lnTo>
                      <a:pt x="297" y="292"/>
                    </a:lnTo>
                    <a:lnTo>
                      <a:pt x="274" y="292"/>
                    </a:lnTo>
                    <a:lnTo>
                      <a:pt x="274" y="292"/>
                    </a:lnTo>
                    <a:lnTo>
                      <a:pt x="274" y="245"/>
                    </a:lnTo>
                    <a:lnTo>
                      <a:pt x="274" y="245"/>
                    </a:lnTo>
                    <a:lnTo>
                      <a:pt x="274" y="221"/>
                    </a:lnTo>
                    <a:lnTo>
                      <a:pt x="274" y="221"/>
                    </a:lnTo>
                    <a:lnTo>
                      <a:pt x="250" y="221"/>
                    </a:lnTo>
                    <a:lnTo>
                      <a:pt x="250" y="221"/>
                    </a:lnTo>
                    <a:lnTo>
                      <a:pt x="250" y="245"/>
                    </a:lnTo>
                    <a:lnTo>
                      <a:pt x="250" y="245"/>
                    </a:lnTo>
                    <a:lnTo>
                      <a:pt x="250" y="292"/>
                    </a:lnTo>
                    <a:lnTo>
                      <a:pt x="250" y="292"/>
                    </a:lnTo>
                    <a:lnTo>
                      <a:pt x="238" y="292"/>
                    </a:lnTo>
                    <a:lnTo>
                      <a:pt x="238" y="292"/>
                    </a:lnTo>
                    <a:lnTo>
                      <a:pt x="191" y="292"/>
                    </a:lnTo>
                    <a:lnTo>
                      <a:pt x="191" y="292"/>
                    </a:lnTo>
                    <a:lnTo>
                      <a:pt x="179" y="292"/>
                    </a:lnTo>
                    <a:lnTo>
                      <a:pt x="179" y="292"/>
                    </a:lnTo>
                    <a:lnTo>
                      <a:pt x="156" y="292"/>
                    </a:lnTo>
                    <a:lnTo>
                      <a:pt x="156" y="292"/>
                    </a:lnTo>
                    <a:lnTo>
                      <a:pt x="144" y="292"/>
                    </a:lnTo>
                    <a:lnTo>
                      <a:pt x="144" y="292"/>
                    </a:lnTo>
                    <a:lnTo>
                      <a:pt x="132" y="292"/>
                    </a:lnTo>
                    <a:lnTo>
                      <a:pt x="132" y="292"/>
                    </a:lnTo>
                    <a:lnTo>
                      <a:pt x="125" y="290"/>
                    </a:lnTo>
                    <a:lnTo>
                      <a:pt x="120" y="292"/>
                    </a:lnTo>
                    <a:lnTo>
                      <a:pt x="120" y="292"/>
                    </a:lnTo>
                    <a:lnTo>
                      <a:pt x="118" y="297"/>
                    </a:lnTo>
                    <a:lnTo>
                      <a:pt x="120" y="302"/>
                    </a:lnTo>
                    <a:lnTo>
                      <a:pt x="120" y="302"/>
                    </a:lnTo>
                    <a:lnTo>
                      <a:pt x="120" y="313"/>
                    </a:lnTo>
                    <a:lnTo>
                      <a:pt x="120" y="313"/>
                    </a:lnTo>
                    <a:lnTo>
                      <a:pt x="120" y="325"/>
                    </a:lnTo>
                    <a:lnTo>
                      <a:pt x="120" y="325"/>
                    </a:lnTo>
                    <a:lnTo>
                      <a:pt x="71" y="325"/>
                    </a:lnTo>
                    <a:lnTo>
                      <a:pt x="71" y="325"/>
                    </a:lnTo>
                    <a:lnTo>
                      <a:pt x="47" y="325"/>
                    </a:lnTo>
                    <a:lnTo>
                      <a:pt x="47" y="325"/>
                    </a:lnTo>
                    <a:lnTo>
                      <a:pt x="47" y="349"/>
                    </a:lnTo>
                    <a:lnTo>
                      <a:pt x="47" y="349"/>
                    </a:lnTo>
                    <a:lnTo>
                      <a:pt x="47" y="361"/>
                    </a:lnTo>
                    <a:lnTo>
                      <a:pt x="47" y="361"/>
                    </a:lnTo>
                    <a:lnTo>
                      <a:pt x="47" y="384"/>
                    </a:lnTo>
                    <a:lnTo>
                      <a:pt x="47" y="384"/>
                    </a:lnTo>
                    <a:lnTo>
                      <a:pt x="47" y="396"/>
                    </a:lnTo>
                    <a:lnTo>
                      <a:pt x="47" y="396"/>
                    </a:lnTo>
                    <a:lnTo>
                      <a:pt x="47" y="419"/>
                    </a:lnTo>
                    <a:lnTo>
                      <a:pt x="47" y="419"/>
                    </a:lnTo>
                    <a:lnTo>
                      <a:pt x="47" y="431"/>
                    </a:lnTo>
                    <a:lnTo>
                      <a:pt x="47" y="431"/>
                    </a:lnTo>
                    <a:lnTo>
                      <a:pt x="47" y="455"/>
                    </a:lnTo>
                    <a:lnTo>
                      <a:pt x="47" y="455"/>
                    </a:lnTo>
                    <a:lnTo>
                      <a:pt x="47" y="502"/>
                    </a:lnTo>
                    <a:lnTo>
                      <a:pt x="47" y="502"/>
                    </a:lnTo>
                    <a:lnTo>
                      <a:pt x="47" y="514"/>
                    </a:lnTo>
                    <a:lnTo>
                      <a:pt x="47" y="514"/>
                    </a:lnTo>
                    <a:lnTo>
                      <a:pt x="47" y="535"/>
                    </a:lnTo>
                    <a:lnTo>
                      <a:pt x="47" y="535"/>
                    </a:lnTo>
                    <a:lnTo>
                      <a:pt x="47" y="558"/>
                    </a:lnTo>
                    <a:lnTo>
                      <a:pt x="47" y="558"/>
                    </a:lnTo>
                    <a:lnTo>
                      <a:pt x="36" y="558"/>
                    </a:lnTo>
                    <a:lnTo>
                      <a:pt x="36" y="558"/>
                    </a:lnTo>
                    <a:lnTo>
                      <a:pt x="24" y="558"/>
                    </a:lnTo>
                    <a:lnTo>
                      <a:pt x="24" y="558"/>
                    </a:lnTo>
                    <a:lnTo>
                      <a:pt x="12" y="558"/>
                    </a:lnTo>
                    <a:lnTo>
                      <a:pt x="12" y="558"/>
                    </a:lnTo>
                    <a:lnTo>
                      <a:pt x="7" y="558"/>
                    </a:lnTo>
                    <a:lnTo>
                      <a:pt x="0" y="558"/>
                    </a:lnTo>
                    <a:lnTo>
                      <a:pt x="0" y="558"/>
                    </a:lnTo>
                    <a:lnTo>
                      <a:pt x="0" y="561"/>
                    </a:lnTo>
                    <a:lnTo>
                      <a:pt x="0" y="566"/>
                    </a:lnTo>
                    <a:lnTo>
                      <a:pt x="0" y="570"/>
                    </a:lnTo>
                    <a:lnTo>
                      <a:pt x="0" y="570"/>
                    </a:lnTo>
                    <a:lnTo>
                      <a:pt x="0" y="594"/>
                    </a:lnTo>
                    <a:lnTo>
                      <a:pt x="0" y="594"/>
                    </a:lnTo>
                    <a:lnTo>
                      <a:pt x="0" y="601"/>
                    </a:lnTo>
                    <a:lnTo>
                      <a:pt x="0" y="606"/>
                    </a:lnTo>
                    <a:lnTo>
                      <a:pt x="0" y="606"/>
                    </a:lnTo>
                    <a:lnTo>
                      <a:pt x="12" y="606"/>
                    </a:lnTo>
                    <a:lnTo>
                      <a:pt x="12" y="606"/>
                    </a:lnTo>
                    <a:lnTo>
                      <a:pt x="24" y="606"/>
                    </a:lnTo>
                    <a:lnTo>
                      <a:pt x="24" y="606"/>
                    </a:lnTo>
                    <a:lnTo>
                      <a:pt x="36" y="606"/>
                    </a:lnTo>
                    <a:lnTo>
                      <a:pt x="36" y="606"/>
                    </a:lnTo>
                    <a:lnTo>
                      <a:pt x="59" y="606"/>
                    </a:lnTo>
                    <a:lnTo>
                      <a:pt x="59" y="606"/>
                    </a:lnTo>
                    <a:lnTo>
                      <a:pt x="109" y="606"/>
                    </a:lnTo>
                    <a:lnTo>
                      <a:pt x="109" y="606"/>
                    </a:lnTo>
                    <a:lnTo>
                      <a:pt x="132" y="606"/>
                    </a:lnTo>
                    <a:lnTo>
                      <a:pt x="132" y="606"/>
                    </a:lnTo>
                    <a:lnTo>
                      <a:pt x="156" y="606"/>
                    </a:lnTo>
                    <a:lnTo>
                      <a:pt x="156" y="606"/>
                    </a:lnTo>
                    <a:lnTo>
                      <a:pt x="168" y="606"/>
                    </a:lnTo>
                    <a:lnTo>
                      <a:pt x="168" y="606"/>
                    </a:lnTo>
                    <a:lnTo>
                      <a:pt x="191" y="606"/>
                    </a:lnTo>
                    <a:lnTo>
                      <a:pt x="191" y="606"/>
                    </a:lnTo>
                    <a:lnTo>
                      <a:pt x="203" y="606"/>
                    </a:lnTo>
                    <a:lnTo>
                      <a:pt x="203" y="606"/>
                    </a:lnTo>
                    <a:lnTo>
                      <a:pt x="226" y="606"/>
                    </a:lnTo>
                    <a:lnTo>
                      <a:pt x="226" y="606"/>
                    </a:lnTo>
                    <a:lnTo>
                      <a:pt x="238" y="606"/>
                    </a:lnTo>
                    <a:lnTo>
                      <a:pt x="238" y="606"/>
                    </a:lnTo>
                    <a:lnTo>
                      <a:pt x="262" y="606"/>
                    </a:lnTo>
                    <a:lnTo>
                      <a:pt x="262" y="606"/>
                    </a:lnTo>
                    <a:lnTo>
                      <a:pt x="274" y="606"/>
                    </a:lnTo>
                    <a:lnTo>
                      <a:pt x="274" y="606"/>
                    </a:lnTo>
                    <a:lnTo>
                      <a:pt x="297" y="606"/>
                    </a:lnTo>
                    <a:lnTo>
                      <a:pt x="297" y="606"/>
                    </a:lnTo>
                    <a:lnTo>
                      <a:pt x="309" y="606"/>
                    </a:lnTo>
                    <a:lnTo>
                      <a:pt x="309" y="606"/>
                    </a:lnTo>
                    <a:lnTo>
                      <a:pt x="332" y="606"/>
                    </a:lnTo>
                    <a:lnTo>
                      <a:pt x="332" y="606"/>
                    </a:lnTo>
                    <a:lnTo>
                      <a:pt x="344" y="606"/>
                    </a:lnTo>
                    <a:lnTo>
                      <a:pt x="344" y="606"/>
                    </a:lnTo>
                    <a:lnTo>
                      <a:pt x="368" y="606"/>
                    </a:lnTo>
                    <a:lnTo>
                      <a:pt x="368" y="606"/>
                    </a:lnTo>
                    <a:lnTo>
                      <a:pt x="380" y="606"/>
                    </a:lnTo>
                    <a:lnTo>
                      <a:pt x="380" y="606"/>
                    </a:lnTo>
                    <a:lnTo>
                      <a:pt x="403" y="606"/>
                    </a:lnTo>
                    <a:lnTo>
                      <a:pt x="403" y="606"/>
                    </a:lnTo>
                    <a:lnTo>
                      <a:pt x="427" y="606"/>
                    </a:lnTo>
                    <a:lnTo>
                      <a:pt x="427" y="606"/>
                    </a:lnTo>
                    <a:lnTo>
                      <a:pt x="439" y="606"/>
                    </a:lnTo>
                    <a:lnTo>
                      <a:pt x="439" y="606"/>
                    </a:lnTo>
                    <a:lnTo>
                      <a:pt x="462" y="606"/>
                    </a:lnTo>
                    <a:lnTo>
                      <a:pt x="462" y="606"/>
                    </a:lnTo>
                    <a:lnTo>
                      <a:pt x="474" y="606"/>
                    </a:lnTo>
                    <a:lnTo>
                      <a:pt x="474" y="606"/>
                    </a:lnTo>
                    <a:lnTo>
                      <a:pt x="500" y="606"/>
                    </a:lnTo>
                    <a:lnTo>
                      <a:pt x="500" y="606"/>
                    </a:lnTo>
                    <a:lnTo>
                      <a:pt x="512" y="606"/>
                    </a:lnTo>
                    <a:lnTo>
                      <a:pt x="512" y="606"/>
                    </a:lnTo>
                    <a:lnTo>
                      <a:pt x="535" y="606"/>
                    </a:lnTo>
                    <a:lnTo>
                      <a:pt x="535" y="606"/>
                    </a:lnTo>
                    <a:lnTo>
                      <a:pt x="547" y="606"/>
                    </a:lnTo>
                    <a:lnTo>
                      <a:pt x="547" y="606"/>
                    </a:lnTo>
                    <a:lnTo>
                      <a:pt x="570" y="606"/>
                    </a:lnTo>
                    <a:lnTo>
                      <a:pt x="570" y="606"/>
                    </a:lnTo>
                    <a:lnTo>
                      <a:pt x="582" y="606"/>
                    </a:lnTo>
                    <a:lnTo>
                      <a:pt x="582" y="606"/>
                    </a:lnTo>
                    <a:lnTo>
                      <a:pt x="606" y="606"/>
                    </a:lnTo>
                    <a:lnTo>
                      <a:pt x="606" y="606"/>
                    </a:lnTo>
                    <a:lnTo>
                      <a:pt x="618" y="606"/>
                    </a:lnTo>
                    <a:lnTo>
                      <a:pt x="618" y="606"/>
                    </a:lnTo>
                    <a:lnTo>
                      <a:pt x="641" y="606"/>
                    </a:lnTo>
                    <a:lnTo>
                      <a:pt x="641" y="606"/>
                    </a:lnTo>
                    <a:lnTo>
                      <a:pt x="653" y="606"/>
                    </a:lnTo>
                    <a:lnTo>
                      <a:pt x="653" y="606"/>
                    </a:lnTo>
                    <a:lnTo>
                      <a:pt x="676" y="606"/>
                    </a:lnTo>
                    <a:lnTo>
                      <a:pt x="676" y="606"/>
                    </a:lnTo>
                    <a:lnTo>
                      <a:pt x="700" y="606"/>
                    </a:lnTo>
                    <a:lnTo>
                      <a:pt x="700" y="606"/>
                    </a:lnTo>
                    <a:lnTo>
                      <a:pt x="712" y="606"/>
                    </a:lnTo>
                    <a:lnTo>
                      <a:pt x="712" y="606"/>
                    </a:lnTo>
                    <a:lnTo>
                      <a:pt x="735" y="606"/>
                    </a:lnTo>
                    <a:lnTo>
                      <a:pt x="735" y="606"/>
                    </a:lnTo>
                    <a:lnTo>
                      <a:pt x="747" y="606"/>
                    </a:lnTo>
                    <a:lnTo>
                      <a:pt x="747" y="606"/>
                    </a:lnTo>
                    <a:lnTo>
                      <a:pt x="771" y="606"/>
                    </a:lnTo>
                    <a:lnTo>
                      <a:pt x="771" y="606"/>
                    </a:lnTo>
                    <a:lnTo>
                      <a:pt x="783" y="606"/>
                    </a:lnTo>
                    <a:lnTo>
                      <a:pt x="783" y="606"/>
                    </a:lnTo>
                    <a:lnTo>
                      <a:pt x="806" y="606"/>
                    </a:lnTo>
                    <a:lnTo>
                      <a:pt x="806" y="606"/>
                    </a:lnTo>
                    <a:lnTo>
                      <a:pt x="818" y="606"/>
                    </a:lnTo>
                    <a:lnTo>
                      <a:pt x="818" y="606"/>
                    </a:lnTo>
                    <a:lnTo>
                      <a:pt x="841" y="606"/>
                    </a:lnTo>
                    <a:lnTo>
                      <a:pt x="841" y="606"/>
                    </a:lnTo>
                    <a:lnTo>
                      <a:pt x="853" y="606"/>
                    </a:lnTo>
                    <a:lnTo>
                      <a:pt x="853" y="606"/>
                    </a:lnTo>
                    <a:lnTo>
                      <a:pt x="877" y="606"/>
                    </a:lnTo>
                    <a:lnTo>
                      <a:pt x="877" y="606"/>
                    </a:lnTo>
                    <a:lnTo>
                      <a:pt x="891" y="606"/>
                    </a:lnTo>
                    <a:lnTo>
                      <a:pt x="891" y="606"/>
                    </a:lnTo>
                    <a:lnTo>
                      <a:pt x="914" y="606"/>
                    </a:lnTo>
                    <a:lnTo>
                      <a:pt x="914" y="606"/>
                    </a:lnTo>
                    <a:lnTo>
                      <a:pt x="926" y="606"/>
                    </a:lnTo>
                    <a:lnTo>
                      <a:pt x="926" y="606"/>
                    </a:lnTo>
                    <a:lnTo>
                      <a:pt x="950" y="606"/>
                    </a:lnTo>
                    <a:lnTo>
                      <a:pt x="950" y="606"/>
                    </a:lnTo>
                    <a:lnTo>
                      <a:pt x="962" y="606"/>
                    </a:lnTo>
                    <a:lnTo>
                      <a:pt x="962" y="606"/>
                    </a:lnTo>
                    <a:lnTo>
                      <a:pt x="985" y="606"/>
                    </a:lnTo>
                    <a:lnTo>
                      <a:pt x="985" y="606"/>
                    </a:lnTo>
                    <a:lnTo>
                      <a:pt x="997" y="606"/>
                    </a:lnTo>
                    <a:lnTo>
                      <a:pt x="997" y="606"/>
                    </a:lnTo>
                    <a:lnTo>
                      <a:pt x="1020" y="606"/>
                    </a:lnTo>
                    <a:lnTo>
                      <a:pt x="1020" y="606"/>
                    </a:lnTo>
                    <a:lnTo>
                      <a:pt x="1032" y="606"/>
                    </a:lnTo>
                    <a:lnTo>
                      <a:pt x="1032" y="606"/>
                    </a:lnTo>
                    <a:lnTo>
                      <a:pt x="1056" y="606"/>
                    </a:lnTo>
                    <a:lnTo>
                      <a:pt x="1056" y="606"/>
                    </a:lnTo>
                    <a:lnTo>
                      <a:pt x="1068" y="606"/>
                    </a:lnTo>
                    <a:lnTo>
                      <a:pt x="1068" y="606"/>
                    </a:lnTo>
                    <a:lnTo>
                      <a:pt x="1091" y="606"/>
                    </a:lnTo>
                    <a:lnTo>
                      <a:pt x="1091" y="606"/>
                    </a:lnTo>
                    <a:lnTo>
                      <a:pt x="1103" y="606"/>
                    </a:lnTo>
                    <a:lnTo>
                      <a:pt x="1103" y="606"/>
                    </a:lnTo>
                    <a:lnTo>
                      <a:pt x="1127" y="606"/>
                    </a:lnTo>
                    <a:lnTo>
                      <a:pt x="1127" y="606"/>
                    </a:lnTo>
                    <a:lnTo>
                      <a:pt x="1138" y="606"/>
                    </a:lnTo>
                    <a:lnTo>
                      <a:pt x="1138" y="606"/>
                    </a:lnTo>
                    <a:lnTo>
                      <a:pt x="1162" y="606"/>
                    </a:lnTo>
                    <a:lnTo>
                      <a:pt x="1162" y="606"/>
                    </a:lnTo>
                    <a:lnTo>
                      <a:pt x="1174" y="606"/>
                    </a:lnTo>
                    <a:lnTo>
                      <a:pt x="1174" y="606"/>
                    </a:lnTo>
                    <a:lnTo>
                      <a:pt x="1197" y="606"/>
                    </a:lnTo>
                    <a:lnTo>
                      <a:pt x="1197" y="606"/>
                    </a:lnTo>
                    <a:lnTo>
                      <a:pt x="1209" y="606"/>
                    </a:lnTo>
                    <a:lnTo>
                      <a:pt x="1209" y="606"/>
                    </a:lnTo>
                    <a:lnTo>
                      <a:pt x="1233" y="606"/>
                    </a:lnTo>
                    <a:lnTo>
                      <a:pt x="1233" y="606"/>
                    </a:lnTo>
                    <a:lnTo>
                      <a:pt x="1256" y="606"/>
                    </a:lnTo>
                    <a:lnTo>
                      <a:pt x="1256" y="606"/>
                    </a:lnTo>
                    <a:lnTo>
                      <a:pt x="1268" y="606"/>
                    </a:lnTo>
                    <a:lnTo>
                      <a:pt x="1268" y="606"/>
                    </a:lnTo>
                    <a:lnTo>
                      <a:pt x="1291" y="606"/>
                    </a:lnTo>
                    <a:lnTo>
                      <a:pt x="1291" y="606"/>
                    </a:lnTo>
                    <a:lnTo>
                      <a:pt x="1306" y="606"/>
                    </a:lnTo>
                    <a:lnTo>
                      <a:pt x="1306" y="606"/>
                    </a:lnTo>
                    <a:lnTo>
                      <a:pt x="1329" y="606"/>
                    </a:lnTo>
                    <a:lnTo>
                      <a:pt x="1329" y="606"/>
                    </a:lnTo>
                    <a:lnTo>
                      <a:pt x="1341" y="606"/>
                    </a:lnTo>
                    <a:lnTo>
                      <a:pt x="1341" y="606"/>
                    </a:lnTo>
                    <a:lnTo>
                      <a:pt x="1365" y="606"/>
                    </a:lnTo>
                    <a:lnTo>
                      <a:pt x="1365" y="606"/>
                    </a:lnTo>
                    <a:lnTo>
                      <a:pt x="1376" y="606"/>
                    </a:lnTo>
                    <a:lnTo>
                      <a:pt x="1376" y="606"/>
                    </a:lnTo>
                    <a:lnTo>
                      <a:pt x="1400" y="606"/>
                    </a:lnTo>
                    <a:lnTo>
                      <a:pt x="1400" y="606"/>
                    </a:lnTo>
                    <a:lnTo>
                      <a:pt x="1412" y="606"/>
                    </a:lnTo>
                    <a:lnTo>
                      <a:pt x="1412" y="606"/>
                    </a:lnTo>
                    <a:lnTo>
                      <a:pt x="1435" y="606"/>
                    </a:lnTo>
                    <a:lnTo>
                      <a:pt x="1435" y="606"/>
                    </a:lnTo>
                    <a:lnTo>
                      <a:pt x="1447" y="606"/>
                    </a:lnTo>
                    <a:lnTo>
                      <a:pt x="1447" y="606"/>
                    </a:lnTo>
                    <a:lnTo>
                      <a:pt x="1471" y="606"/>
                    </a:lnTo>
                    <a:lnTo>
                      <a:pt x="1471" y="606"/>
                    </a:lnTo>
                    <a:lnTo>
                      <a:pt x="1482" y="606"/>
                    </a:lnTo>
                    <a:lnTo>
                      <a:pt x="1482" y="606"/>
                    </a:lnTo>
                    <a:lnTo>
                      <a:pt x="1506" y="606"/>
                    </a:lnTo>
                    <a:lnTo>
                      <a:pt x="1506" y="606"/>
                    </a:lnTo>
                    <a:lnTo>
                      <a:pt x="1529" y="606"/>
                    </a:lnTo>
                    <a:lnTo>
                      <a:pt x="1529" y="606"/>
                    </a:lnTo>
                    <a:lnTo>
                      <a:pt x="1541" y="606"/>
                    </a:lnTo>
                    <a:lnTo>
                      <a:pt x="1541" y="606"/>
                    </a:lnTo>
                    <a:lnTo>
                      <a:pt x="1565" y="606"/>
                    </a:lnTo>
                    <a:lnTo>
                      <a:pt x="1565" y="606"/>
                    </a:lnTo>
                    <a:lnTo>
                      <a:pt x="1577" y="606"/>
                    </a:lnTo>
                    <a:lnTo>
                      <a:pt x="1577" y="606"/>
                    </a:lnTo>
                    <a:lnTo>
                      <a:pt x="1600" y="606"/>
                    </a:lnTo>
                    <a:lnTo>
                      <a:pt x="1600" y="606"/>
                    </a:lnTo>
                    <a:lnTo>
                      <a:pt x="1612" y="606"/>
                    </a:lnTo>
                    <a:lnTo>
                      <a:pt x="1612" y="606"/>
                    </a:lnTo>
                    <a:lnTo>
                      <a:pt x="1635" y="606"/>
                    </a:lnTo>
                    <a:lnTo>
                      <a:pt x="1635" y="606"/>
                    </a:lnTo>
                    <a:lnTo>
                      <a:pt x="1647" y="606"/>
                    </a:lnTo>
                    <a:lnTo>
                      <a:pt x="1647" y="606"/>
                    </a:lnTo>
                    <a:lnTo>
                      <a:pt x="1671" y="606"/>
                    </a:lnTo>
                    <a:lnTo>
                      <a:pt x="1671" y="606"/>
                    </a:lnTo>
                    <a:lnTo>
                      <a:pt x="1683" y="606"/>
                    </a:lnTo>
                    <a:lnTo>
                      <a:pt x="1683" y="606"/>
                    </a:lnTo>
                    <a:lnTo>
                      <a:pt x="1709" y="606"/>
                    </a:lnTo>
                    <a:lnTo>
                      <a:pt x="1709" y="606"/>
                    </a:lnTo>
                    <a:lnTo>
                      <a:pt x="1720" y="606"/>
                    </a:lnTo>
                    <a:lnTo>
                      <a:pt x="1720" y="606"/>
                    </a:lnTo>
                    <a:lnTo>
                      <a:pt x="1744" y="606"/>
                    </a:lnTo>
                    <a:lnTo>
                      <a:pt x="1744" y="606"/>
                    </a:lnTo>
                    <a:lnTo>
                      <a:pt x="1756" y="606"/>
                    </a:lnTo>
                    <a:lnTo>
                      <a:pt x="1756" y="606"/>
                    </a:lnTo>
                    <a:lnTo>
                      <a:pt x="1779" y="606"/>
                    </a:lnTo>
                    <a:lnTo>
                      <a:pt x="1779" y="606"/>
                    </a:lnTo>
                    <a:lnTo>
                      <a:pt x="1803" y="606"/>
                    </a:lnTo>
                    <a:lnTo>
                      <a:pt x="1803" y="606"/>
                    </a:lnTo>
                    <a:lnTo>
                      <a:pt x="1815" y="606"/>
                    </a:lnTo>
                    <a:lnTo>
                      <a:pt x="1815" y="606"/>
                    </a:lnTo>
                    <a:lnTo>
                      <a:pt x="1838" y="606"/>
                    </a:lnTo>
                    <a:lnTo>
                      <a:pt x="1838" y="606"/>
                    </a:lnTo>
                    <a:lnTo>
                      <a:pt x="1850" y="606"/>
                    </a:lnTo>
                    <a:lnTo>
                      <a:pt x="1850" y="606"/>
                    </a:lnTo>
                    <a:lnTo>
                      <a:pt x="1873" y="606"/>
                    </a:lnTo>
                    <a:lnTo>
                      <a:pt x="1873" y="606"/>
                    </a:lnTo>
                    <a:lnTo>
                      <a:pt x="1885" y="606"/>
                    </a:lnTo>
                    <a:lnTo>
                      <a:pt x="1885" y="606"/>
                    </a:lnTo>
                    <a:lnTo>
                      <a:pt x="1909" y="606"/>
                    </a:lnTo>
                    <a:lnTo>
                      <a:pt x="1909" y="606"/>
                    </a:lnTo>
                    <a:lnTo>
                      <a:pt x="1921" y="606"/>
                    </a:lnTo>
                    <a:lnTo>
                      <a:pt x="1921" y="606"/>
                    </a:lnTo>
                    <a:lnTo>
                      <a:pt x="1944" y="606"/>
                    </a:lnTo>
                    <a:lnTo>
                      <a:pt x="1944" y="606"/>
                    </a:lnTo>
                    <a:lnTo>
                      <a:pt x="1956" y="606"/>
                    </a:lnTo>
                    <a:lnTo>
                      <a:pt x="1956" y="606"/>
                    </a:lnTo>
                    <a:lnTo>
                      <a:pt x="1979" y="606"/>
                    </a:lnTo>
                    <a:lnTo>
                      <a:pt x="1979" y="606"/>
                    </a:lnTo>
                    <a:lnTo>
                      <a:pt x="1991" y="606"/>
                    </a:lnTo>
                    <a:lnTo>
                      <a:pt x="1991" y="606"/>
                    </a:lnTo>
                    <a:lnTo>
                      <a:pt x="2015" y="606"/>
                    </a:lnTo>
                    <a:lnTo>
                      <a:pt x="2015" y="606"/>
                    </a:lnTo>
                    <a:lnTo>
                      <a:pt x="2027" y="606"/>
                    </a:lnTo>
                    <a:lnTo>
                      <a:pt x="2027" y="606"/>
                    </a:lnTo>
                    <a:lnTo>
                      <a:pt x="2050" y="606"/>
                    </a:lnTo>
                    <a:lnTo>
                      <a:pt x="2050" y="606"/>
                    </a:lnTo>
                    <a:lnTo>
                      <a:pt x="2062" y="606"/>
                    </a:lnTo>
                    <a:lnTo>
                      <a:pt x="2062" y="606"/>
                    </a:lnTo>
                    <a:lnTo>
                      <a:pt x="2085" y="606"/>
                    </a:lnTo>
                    <a:lnTo>
                      <a:pt x="2085" y="606"/>
                    </a:lnTo>
                    <a:lnTo>
                      <a:pt x="2097" y="606"/>
                    </a:lnTo>
                    <a:lnTo>
                      <a:pt x="2097" y="606"/>
                    </a:lnTo>
                    <a:lnTo>
                      <a:pt x="2123" y="606"/>
                    </a:lnTo>
                    <a:lnTo>
                      <a:pt x="2123" y="606"/>
                    </a:lnTo>
                    <a:lnTo>
                      <a:pt x="2135" y="606"/>
                    </a:lnTo>
                    <a:lnTo>
                      <a:pt x="2135" y="606"/>
                    </a:lnTo>
                    <a:lnTo>
                      <a:pt x="2159" y="606"/>
                    </a:lnTo>
                    <a:lnTo>
                      <a:pt x="2159" y="606"/>
                    </a:lnTo>
                    <a:lnTo>
                      <a:pt x="2170" y="606"/>
                    </a:lnTo>
                    <a:lnTo>
                      <a:pt x="2170" y="606"/>
                    </a:lnTo>
                    <a:lnTo>
                      <a:pt x="2194" y="606"/>
                    </a:lnTo>
                    <a:lnTo>
                      <a:pt x="2194" y="606"/>
                    </a:lnTo>
                    <a:lnTo>
                      <a:pt x="2206" y="606"/>
                    </a:lnTo>
                    <a:lnTo>
                      <a:pt x="2206" y="606"/>
                    </a:lnTo>
                    <a:lnTo>
                      <a:pt x="2229" y="606"/>
                    </a:lnTo>
                    <a:lnTo>
                      <a:pt x="2229" y="606"/>
                    </a:lnTo>
                    <a:lnTo>
                      <a:pt x="2241" y="606"/>
                    </a:lnTo>
                    <a:lnTo>
                      <a:pt x="2241" y="606"/>
                    </a:lnTo>
                    <a:lnTo>
                      <a:pt x="2265" y="606"/>
                    </a:lnTo>
                    <a:lnTo>
                      <a:pt x="2265" y="606"/>
                    </a:lnTo>
                    <a:lnTo>
                      <a:pt x="2276" y="606"/>
                    </a:lnTo>
                    <a:lnTo>
                      <a:pt x="2276" y="606"/>
                    </a:lnTo>
                    <a:lnTo>
                      <a:pt x="2300" y="606"/>
                    </a:lnTo>
                    <a:lnTo>
                      <a:pt x="2300" y="606"/>
                    </a:lnTo>
                    <a:lnTo>
                      <a:pt x="2312" y="606"/>
                    </a:lnTo>
                    <a:lnTo>
                      <a:pt x="2312" y="606"/>
                    </a:lnTo>
                    <a:lnTo>
                      <a:pt x="2335" y="606"/>
                    </a:lnTo>
                    <a:lnTo>
                      <a:pt x="2335" y="606"/>
                    </a:lnTo>
                    <a:lnTo>
                      <a:pt x="2338" y="606"/>
                    </a:lnTo>
                    <a:lnTo>
                      <a:pt x="2338" y="490"/>
                    </a:lnTo>
                    <a:close/>
                  </a:path>
                </a:pathLst>
              </a:custGeom>
              <a:solidFill>
                <a:schemeClr val="accent2">
                  <a:alpha val="58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2" name="Freeform 71"/>
            <p:cNvSpPr>
              <a:spLocks/>
            </p:cNvSpPr>
            <p:nvPr/>
          </p:nvSpPr>
          <p:spPr bwMode="auto">
            <a:xfrm>
              <a:off x="4648200" y="2794175"/>
              <a:ext cx="3702050" cy="890588"/>
            </a:xfrm>
            <a:custGeom>
              <a:avLst/>
              <a:gdLst>
                <a:gd name="T0" fmla="*/ 2259 w 2332"/>
                <a:gd name="T1" fmla="*/ 513 h 561"/>
                <a:gd name="T2" fmla="*/ 2177 w 2332"/>
                <a:gd name="T3" fmla="*/ 466 h 561"/>
                <a:gd name="T4" fmla="*/ 2059 w 2332"/>
                <a:gd name="T5" fmla="*/ 452 h 561"/>
                <a:gd name="T6" fmla="*/ 2005 w 2332"/>
                <a:gd name="T7" fmla="*/ 452 h 561"/>
                <a:gd name="T8" fmla="*/ 1927 w 2332"/>
                <a:gd name="T9" fmla="*/ 466 h 561"/>
                <a:gd name="T10" fmla="*/ 1892 w 2332"/>
                <a:gd name="T11" fmla="*/ 478 h 561"/>
                <a:gd name="T12" fmla="*/ 1837 w 2332"/>
                <a:gd name="T13" fmla="*/ 429 h 561"/>
                <a:gd name="T14" fmla="*/ 1797 w 2332"/>
                <a:gd name="T15" fmla="*/ 228 h 561"/>
                <a:gd name="T16" fmla="*/ 1748 w 2332"/>
                <a:gd name="T17" fmla="*/ 167 h 561"/>
                <a:gd name="T18" fmla="*/ 1630 w 2332"/>
                <a:gd name="T19" fmla="*/ 155 h 561"/>
                <a:gd name="T20" fmla="*/ 1618 w 2332"/>
                <a:gd name="T21" fmla="*/ 228 h 561"/>
                <a:gd name="T22" fmla="*/ 1576 w 2332"/>
                <a:gd name="T23" fmla="*/ 202 h 561"/>
                <a:gd name="T24" fmla="*/ 1486 w 2332"/>
                <a:gd name="T25" fmla="*/ 217 h 561"/>
                <a:gd name="T26" fmla="*/ 1451 w 2332"/>
                <a:gd name="T27" fmla="*/ 334 h 561"/>
                <a:gd name="T28" fmla="*/ 1416 w 2332"/>
                <a:gd name="T29" fmla="*/ 358 h 561"/>
                <a:gd name="T30" fmla="*/ 1357 w 2332"/>
                <a:gd name="T31" fmla="*/ 275 h 561"/>
                <a:gd name="T32" fmla="*/ 1357 w 2332"/>
                <a:gd name="T33" fmla="*/ 108 h 561"/>
                <a:gd name="T34" fmla="*/ 1296 w 2332"/>
                <a:gd name="T35" fmla="*/ 68 h 561"/>
                <a:gd name="T36" fmla="*/ 1225 w 2332"/>
                <a:gd name="T37" fmla="*/ 66 h 561"/>
                <a:gd name="T38" fmla="*/ 1201 w 2332"/>
                <a:gd name="T39" fmla="*/ 89 h 561"/>
                <a:gd name="T40" fmla="*/ 1178 w 2332"/>
                <a:gd name="T41" fmla="*/ 120 h 561"/>
                <a:gd name="T42" fmla="*/ 1166 w 2332"/>
                <a:gd name="T43" fmla="*/ 240 h 561"/>
                <a:gd name="T44" fmla="*/ 1135 w 2332"/>
                <a:gd name="T45" fmla="*/ 287 h 561"/>
                <a:gd name="T46" fmla="*/ 1046 w 2332"/>
                <a:gd name="T47" fmla="*/ 299 h 561"/>
                <a:gd name="T48" fmla="*/ 1008 w 2332"/>
                <a:gd name="T49" fmla="*/ 323 h 561"/>
                <a:gd name="T50" fmla="*/ 963 w 2332"/>
                <a:gd name="T51" fmla="*/ 217 h 561"/>
                <a:gd name="T52" fmla="*/ 881 w 2332"/>
                <a:gd name="T53" fmla="*/ 132 h 561"/>
                <a:gd name="T54" fmla="*/ 834 w 2332"/>
                <a:gd name="T55" fmla="*/ 96 h 561"/>
                <a:gd name="T56" fmla="*/ 810 w 2332"/>
                <a:gd name="T57" fmla="*/ 120 h 561"/>
                <a:gd name="T58" fmla="*/ 784 w 2332"/>
                <a:gd name="T59" fmla="*/ 217 h 561"/>
                <a:gd name="T60" fmla="*/ 737 w 2332"/>
                <a:gd name="T61" fmla="*/ 275 h 561"/>
                <a:gd name="T62" fmla="*/ 643 w 2332"/>
                <a:gd name="T63" fmla="*/ 144 h 561"/>
                <a:gd name="T64" fmla="*/ 631 w 2332"/>
                <a:gd name="T65" fmla="*/ 73 h 561"/>
                <a:gd name="T66" fmla="*/ 584 w 2332"/>
                <a:gd name="T67" fmla="*/ 108 h 561"/>
                <a:gd name="T68" fmla="*/ 511 w 2332"/>
                <a:gd name="T69" fmla="*/ 144 h 561"/>
                <a:gd name="T70" fmla="*/ 499 w 2332"/>
                <a:gd name="T71" fmla="*/ 191 h 561"/>
                <a:gd name="T72" fmla="*/ 476 w 2332"/>
                <a:gd name="T73" fmla="*/ 191 h 561"/>
                <a:gd name="T74" fmla="*/ 452 w 2332"/>
                <a:gd name="T75" fmla="*/ 108 h 561"/>
                <a:gd name="T76" fmla="*/ 440 w 2332"/>
                <a:gd name="T77" fmla="*/ 26 h 561"/>
                <a:gd name="T78" fmla="*/ 428 w 2332"/>
                <a:gd name="T79" fmla="*/ 49 h 561"/>
                <a:gd name="T80" fmla="*/ 405 w 2332"/>
                <a:gd name="T81" fmla="*/ 108 h 561"/>
                <a:gd name="T82" fmla="*/ 358 w 2332"/>
                <a:gd name="T83" fmla="*/ 252 h 561"/>
                <a:gd name="T84" fmla="*/ 304 w 2332"/>
                <a:gd name="T85" fmla="*/ 181 h 561"/>
                <a:gd name="T86" fmla="*/ 214 w 2332"/>
                <a:gd name="T87" fmla="*/ 179 h 561"/>
                <a:gd name="T88" fmla="*/ 167 w 2332"/>
                <a:gd name="T89" fmla="*/ 250 h 561"/>
                <a:gd name="T90" fmla="*/ 143 w 2332"/>
                <a:gd name="T91" fmla="*/ 299 h 561"/>
                <a:gd name="T92" fmla="*/ 120 w 2332"/>
                <a:gd name="T93" fmla="*/ 334 h 561"/>
                <a:gd name="T94" fmla="*/ 35 w 2332"/>
                <a:gd name="T95" fmla="*/ 561 h 561"/>
                <a:gd name="T96" fmla="*/ 190 w 2332"/>
                <a:gd name="T97" fmla="*/ 561 h 561"/>
                <a:gd name="T98" fmla="*/ 381 w 2332"/>
                <a:gd name="T99" fmla="*/ 561 h 561"/>
                <a:gd name="T100" fmla="*/ 558 w 2332"/>
                <a:gd name="T101" fmla="*/ 561 h 561"/>
                <a:gd name="T102" fmla="*/ 725 w 2332"/>
                <a:gd name="T103" fmla="*/ 561 h 561"/>
                <a:gd name="T104" fmla="*/ 881 w 2332"/>
                <a:gd name="T105" fmla="*/ 561 h 561"/>
                <a:gd name="T106" fmla="*/ 1046 w 2332"/>
                <a:gd name="T107" fmla="*/ 561 h 561"/>
                <a:gd name="T108" fmla="*/ 1225 w 2332"/>
                <a:gd name="T109" fmla="*/ 561 h 561"/>
                <a:gd name="T110" fmla="*/ 1416 w 2332"/>
                <a:gd name="T111" fmla="*/ 561 h 561"/>
                <a:gd name="T112" fmla="*/ 1571 w 2332"/>
                <a:gd name="T113" fmla="*/ 561 h 561"/>
                <a:gd name="T114" fmla="*/ 1760 w 2332"/>
                <a:gd name="T115" fmla="*/ 561 h 561"/>
                <a:gd name="T116" fmla="*/ 1951 w 2332"/>
                <a:gd name="T117" fmla="*/ 561 h 561"/>
                <a:gd name="T118" fmla="*/ 2153 w 2332"/>
                <a:gd name="T119" fmla="*/ 561 h 561"/>
                <a:gd name="T120" fmla="*/ 2332 w 2332"/>
                <a:gd name="T121" fmla="*/ 56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32" h="561">
                  <a:moveTo>
                    <a:pt x="2332" y="549"/>
                  </a:moveTo>
                  <a:lnTo>
                    <a:pt x="2332" y="549"/>
                  </a:lnTo>
                  <a:lnTo>
                    <a:pt x="2332" y="525"/>
                  </a:lnTo>
                  <a:lnTo>
                    <a:pt x="2332" y="525"/>
                  </a:lnTo>
                  <a:lnTo>
                    <a:pt x="2332" y="518"/>
                  </a:lnTo>
                  <a:lnTo>
                    <a:pt x="2332" y="513"/>
                  </a:lnTo>
                  <a:lnTo>
                    <a:pt x="2332" y="513"/>
                  </a:lnTo>
                  <a:lnTo>
                    <a:pt x="2325" y="513"/>
                  </a:lnTo>
                  <a:lnTo>
                    <a:pt x="2320" y="513"/>
                  </a:lnTo>
                  <a:lnTo>
                    <a:pt x="2320" y="513"/>
                  </a:lnTo>
                  <a:lnTo>
                    <a:pt x="2309" y="513"/>
                  </a:lnTo>
                  <a:lnTo>
                    <a:pt x="2309" y="513"/>
                  </a:lnTo>
                  <a:lnTo>
                    <a:pt x="2297" y="513"/>
                  </a:lnTo>
                  <a:lnTo>
                    <a:pt x="2297" y="513"/>
                  </a:lnTo>
                  <a:lnTo>
                    <a:pt x="2271" y="513"/>
                  </a:lnTo>
                  <a:lnTo>
                    <a:pt x="2271" y="513"/>
                  </a:lnTo>
                  <a:lnTo>
                    <a:pt x="2259" y="513"/>
                  </a:lnTo>
                  <a:lnTo>
                    <a:pt x="2259" y="513"/>
                  </a:lnTo>
                  <a:lnTo>
                    <a:pt x="2236" y="513"/>
                  </a:lnTo>
                  <a:lnTo>
                    <a:pt x="2236" y="513"/>
                  </a:lnTo>
                  <a:lnTo>
                    <a:pt x="2188" y="513"/>
                  </a:lnTo>
                  <a:lnTo>
                    <a:pt x="2188" y="513"/>
                  </a:lnTo>
                  <a:lnTo>
                    <a:pt x="2188" y="502"/>
                  </a:lnTo>
                  <a:lnTo>
                    <a:pt x="2188" y="502"/>
                  </a:lnTo>
                  <a:lnTo>
                    <a:pt x="2188" y="490"/>
                  </a:lnTo>
                  <a:lnTo>
                    <a:pt x="2188" y="490"/>
                  </a:lnTo>
                  <a:lnTo>
                    <a:pt x="2188" y="483"/>
                  </a:lnTo>
                  <a:lnTo>
                    <a:pt x="2188" y="478"/>
                  </a:lnTo>
                  <a:lnTo>
                    <a:pt x="2188" y="478"/>
                  </a:lnTo>
                  <a:lnTo>
                    <a:pt x="2184" y="478"/>
                  </a:lnTo>
                  <a:lnTo>
                    <a:pt x="2177" y="478"/>
                  </a:lnTo>
                  <a:lnTo>
                    <a:pt x="2177" y="478"/>
                  </a:lnTo>
                  <a:lnTo>
                    <a:pt x="2177" y="476"/>
                  </a:lnTo>
                  <a:lnTo>
                    <a:pt x="2177" y="471"/>
                  </a:lnTo>
                  <a:lnTo>
                    <a:pt x="2177" y="469"/>
                  </a:lnTo>
                  <a:lnTo>
                    <a:pt x="2177" y="466"/>
                  </a:lnTo>
                  <a:lnTo>
                    <a:pt x="2177" y="466"/>
                  </a:lnTo>
                  <a:lnTo>
                    <a:pt x="2174" y="464"/>
                  </a:lnTo>
                  <a:lnTo>
                    <a:pt x="2172" y="466"/>
                  </a:lnTo>
                  <a:lnTo>
                    <a:pt x="2167" y="466"/>
                  </a:lnTo>
                  <a:lnTo>
                    <a:pt x="2165" y="466"/>
                  </a:lnTo>
                  <a:lnTo>
                    <a:pt x="2165" y="466"/>
                  </a:lnTo>
                  <a:lnTo>
                    <a:pt x="2165" y="464"/>
                  </a:lnTo>
                  <a:lnTo>
                    <a:pt x="2165" y="459"/>
                  </a:lnTo>
                  <a:lnTo>
                    <a:pt x="2165" y="452"/>
                  </a:lnTo>
                  <a:lnTo>
                    <a:pt x="2165" y="452"/>
                  </a:lnTo>
                  <a:lnTo>
                    <a:pt x="2153" y="452"/>
                  </a:lnTo>
                  <a:lnTo>
                    <a:pt x="2153" y="452"/>
                  </a:lnTo>
                  <a:lnTo>
                    <a:pt x="2130" y="452"/>
                  </a:lnTo>
                  <a:lnTo>
                    <a:pt x="2130" y="452"/>
                  </a:lnTo>
                  <a:lnTo>
                    <a:pt x="2082" y="452"/>
                  </a:lnTo>
                  <a:lnTo>
                    <a:pt x="2082" y="452"/>
                  </a:lnTo>
                  <a:lnTo>
                    <a:pt x="2059" y="452"/>
                  </a:lnTo>
                  <a:lnTo>
                    <a:pt x="2059" y="452"/>
                  </a:lnTo>
                  <a:lnTo>
                    <a:pt x="2052" y="452"/>
                  </a:lnTo>
                  <a:lnTo>
                    <a:pt x="2047" y="452"/>
                  </a:lnTo>
                  <a:lnTo>
                    <a:pt x="2047" y="452"/>
                  </a:lnTo>
                  <a:lnTo>
                    <a:pt x="2045" y="455"/>
                  </a:lnTo>
                  <a:lnTo>
                    <a:pt x="2047" y="459"/>
                  </a:lnTo>
                  <a:lnTo>
                    <a:pt x="2047" y="466"/>
                  </a:lnTo>
                  <a:lnTo>
                    <a:pt x="2047" y="466"/>
                  </a:lnTo>
                  <a:lnTo>
                    <a:pt x="2040" y="466"/>
                  </a:lnTo>
                  <a:lnTo>
                    <a:pt x="2035" y="466"/>
                  </a:lnTo>
                  <a:lnTo>
                    <a:pt x="2035" y="466"/>
                  </a:lnTo>
                  <a:lnTo>
                    <a:pt x="2035" y="452"/>
                  </a:lnTo>
                  <a:lnTo>
                    <a:pt x="2035" y="452"/>
                  </a:lnTo>
                  <a:lnTo>
                    <a:pt x="2028" y="452"/>
                  </a:lnTo>
                  <a:lnTo>
                    <a:pt x="2021" y="452"/>
                  </a:lnTo>
                  <a:lnTo>
                    <a:pt x="2021" y="452"/>
                  </a:lnTo>
                  <a:lnTo>
                    <a:pt x="2009" y="452"/>
                  </a:lnTo>
                  <a:lnTo>
                    <a:pt x="2009" y="452"/>
                  </a:lnTo>
                  <a:lnTo>
                    <a:pt x="2005" y="452"/>
                  </a:lnTo>
                  <a:lnTo>
                    <a:pt x="2000" y="452"/>
                  </a:lnTo>
                  <a:lnTo>
                    <a:pt x="1998" y="452"/>
                  </a:lnTo>
                  <a:lnTo>
                    <a:pt x="1998" y="452"/>
                  </a:lnTo>
                  <a:lnTo>
                    <a:pt x="1998" y="459"/>
                  </a:lnTo>
                  <a:lnTo>
                    <a:pt x="1998" y="466"/>
                  </a:lnTo>
                  <a:lnTo>
                    <a:pt x="1998" y="466"/>
                  </a:lnTo>
                  <a:lnTo>
                    <a:pt x="1993" y="466"/>
                  </a:lnTo>
                  <a:lnTo>
                    <a:pt x="1986" y="466"/>
                  </a:lnTo>
                  <a:lnTo>
                    <a:pt x="1986" y="466"/>
                  </a:lnTo>
                  <a:lnTo>
                    <a:pt x="1962" y="466"/>
                  </a:lnTo>
                  <a:lnTo>
                    <a:pt x="1962" y="466"/>
                  </a:lnTo>
                  <a:lnTo>
                    <a:pt x="1951" y="466"/>
                  </a:lnTo>
                  <a:lnTo>
                    <a:pt x="1951" y="466"/>
                  </a:lnTo>
                  <a:lnTo>
                    <a:pt x="1939" y="466"/>
                  </a:lnTo>
                  <a:lnTo>
                    <a:pt x="1939" y="466"/>
                  </a:lnTo>
                  <a:lnTo>
                    <a:pt x="1932" y="466"/>
                  </a:lnTo>
                  <a:lnTo>
                    <a:pt x="1927" y="466"/>
                  </a:lnTo>
                  <a:lnTo>
                    <a:pt x="1927" y="466"/>
                  </a:lnTo>
                  <a:lnTo>
                    <a:pt x="1927" y="464"/>
                  </a:lnTo>
                  <a:lnTo>
                    <a:pt x="1927" y="459"/>
                  </a:lnTo>
                  <a:lnTo>
                    <a:pt x="1927" y="452"/>
                  </a:lnTo>
                  <a:lnTo>
                    <a:pt x="1927" y="452"/>
                  </a:lnTo>
                  <a:lnTo>
                    <a:pt x="1903" y="452"/>
                  </a:lnTo>
                  <a:lnTo>
                    <a:pt x="1903" y="452"/>
                  </a:lnTo>
                  <a:lnTo>
                    <a:pt x="1903" y="459"/>
                  </a:lnTo>
                  <a:lnTo>
                    <a:pt x="1903" y="464"/>
                  </a:lnTo>
                  <a:lnTo>
                    <a:pt x="1903" y="466"/>
                  </a:lnTo>
                  <a:lnTo>
                    <a:pt x="1903" y="466"/>
                  </a:lnTo>
                  <a:lnTo>
                    <a:pt x="1901" y="466"/>
                  </a:lnTo>
                  <a:lnTo>
                    <a:pt x="1896" y="466"/>
                  </a:lnTo>
                  <a:lnTo>
                    <a:pt x="1894" y="464"/>
                  </a:lnTo>
                  <a:lnTo>
                    <a:pt x="1892" y="466"/>
                  </a:lnTo>
                  <a:lnTo>
                    <a:pt x="1892" y="466"/>
                  </a:lnTo>
                  <a:lnTo>
                    <a:pt x="1892" y="469"/>
                  </a:lnTo>
                  <a:lnTo>
                    <a:pt x="1892" y="471"/>
                  </a:lnTo>
                  <a:lnTo>
                    <a:pt x="1892" y="478"/>
                  </a:lnTo>
                  <a:lnTo>
                    <a:pt x="1892" y="478"/>
                  </a:lnTo>
                  <a:lnTo>
                    <a:pt x="1880" y="478"/>
                  </a:lnTo>
                  <a:lnTo>
                    <a:pt x="1880" y="478"/>
                  </a:lnTo>
                  <a:lnTo>
                    <a:pt x="1868" y="478"/>
                  </a:lnTo>
                  <a:lnTo>
                    <a:pt x="1868" y="478"/>
                  </a:lnTo>
                  <a:lnTo>
                    <a:pt x="1844" y="478"/>
                  </a:lnTo>
                  <a:lnTo>
                    <a:pt x="1844" y="478"/>
                  </a:lnTo>
                  <a:lnTo>
                    <a:pt x="1844" y="466"/>
                  </a:lnTo>
                  <a:lnTo>
                    <a:pt x="1844" y="466"/>
                  </a:lnTo>
                  <a:lnTo>
                    <a:pt x="1844" y="452"/>
                  </a:lnTo>
                  <a:lnTo>
                    <a:pt x="1844" y="452"/>
                  </a:lnTo>
                  <a:lnTo>
                    <a:pt x="1844" y="440"/>
                  </a:lnTo>
                  <a:lnTo>
                    <a:pt x="1844" y="440"/>
                  </a:lnTo>
                  <a:lnTo>
                    <a:pt x="1844" y="436"/>
                  </a:lnTo>
                  <a:lnTo>
                    <a:pt x="1844" y="429"/>
                  </a:lnTo>
                  <a:lnTo>
                    <a:pt x="1844" y="429"/>
                  </a:lnTo>
                  <a:lnTo>
                    <a:pt x="1842" y="429"/>
                  </a:lnTo>
                  <a:lnTo>
                    <a:pt x="1837" y="429"/>
                  </a:lnTo>
                  <a:lnTo>
                    <a:pt x="1833" y="429"/>
                  </a:lnTo>
                  <a:lnTo>
                    <a:pt x="1833" y="429"/>
                  </a:lnTo>
                  <a:lnTo>
                    <a:pt x="1833" y="405"/>
                  </a:lnTo>
                  <a:lnTo>
                    <a:pt x="1833" y="405"/>
                  </a:lnTo>
                  <a:lnTo>
                    <a:pt x="1821" y="405"/>
                  </a:lnTo>
                  <a:lnTo>
                    <a:pt x="1821" y="405"/>
                  </a:lnTo>
                  <a:lnTo>
                    <a:pt x="1797" y="405"/>
                  </a:lnTo>
                  <a:lnTo>
                    <a:pt x="1797" y="405"/>
                  </a:lnTo>
                  <a:lnTo>
                    <a:pt x="1797" y="393"/>
                  </a:lnTo>
                  <a:lnTo>
                    <a:pt x="1797" y="393"/>
                  </a:lnTo>
                  <a:lnTo>
                    <a:pt x="1797" y="346"/>
                  </a:lnTo>
                  <a:lnTo>
                    <a:pt x="1797" y="346"/>
                  </a:lnTo>
                  <a:lnTo>
                    <a:pt x="1797" y="252"/>
                  </a:lnTo>
                  <a:lnTo>
                    <a:pt x="1797" y="252"/>
                  </a:lnTo>
                  <a:lnTo>
                    <a:pt x="1797" y="240"/>
                  </a:lnTo>
                  <a:lnTo>
                    <a:pt x="1797" y="240"/>
                  </a:lnTo>
                  <a:lnTo>
                    <a:pt x="1797" y="228"/>
                  </a:lnTo>
                  <a:lnTo>
                    <a:pt x="1797" y="228"/>
                  </a:lnTo>
                  <a:lnTo>
                    <a:pt x="1797" y="217"/>
                  </a:lnTo>
                  <a:lnTo>
                    <a:pt x="1797" y="217"/>
                  </a:lnTo>
                  <a:lnTo>
                    <a:pt x="1795" y="209"/>
                  </a:lnTo>
                  <a:lnTo>
                    <a:pt x="1797" y="202"/>
                  </a:lnTo>
                  <a:lnTo>
                    <a:pt x="1797" y="202"/>
                  </a:lnTo>
                  <a:lnTo>
                    <a:pt x="1800" y="202"/>
                  </a:lnTo>
                  <a:lnTo>
                    <a:pt x="1802" y="202"/>
                  </a:lnTo>
                  <a:lnTo>
                    <a:pt x="1809" y="202"/>
                  </a:lnTo>
                  <a:lnTo>
                    <a:pt x="1809" y="202"/>
                  </a:lnTo>
                  <a:lnTo>
                    <a:pt x="1809" y="179"/>
                  </a:lnTo>
                  <a:lnTo>
                    <a:pt x="1809" y="179"/>
                  </a:lnTo>
                  <a:lnTo>
                    <a:pt x="1783" y="179"/>
                  </a:lnTo>
                  <a:lnTo>
                    <a:pt x="1783" y="179"/>
                  </a:lnTo>
                  <a:lnTo>
                    <a:pt x="1771" y="179"/>
                  </a:lnTo>
                  <a:lnTo>
                    <a:pt x="1771" y="179"/>
                  </a:lnTo>
                  <a:lnTo>
                    <a:pt x="1748" y="179"/>
                  </a:lnTo>
                  <a:lnTo>
                    <a:pt x="1748" y="179"/>
                  </a:lnTo>
                  <a:lnTo>
                    <a:pt x="1748" y="167"/>
                  </a:lnTo>
                  <a:lnTo>
                    <a:pt x="1748" y="167"/>
                  </a:lnTo>
                  <a:lnTo>
                    <a:pt x="1750" y="162"/>
                  </a:lnTo>
                  <a:lnTo>
                    <a:pt x="1748" y="155"/>
                  </a:lnTo>
                  <a:lnTo>
                    <a:pt x="1748" y="155"/>
                  </a:lnTo>
                  <a:lnTo>
                    <a:pt x="1743" y="155"/>
                  </a:lnTo>
                  <a:lnTo>
                    <a:pt x="1736" y="155"/>
                  </a:lnTo>
                  <a:lnTo>
                    <a:pt x="1736" y="155"/>
                  </a:lnTo>
                  <a:lnTo>
                    <a:pt x="1724" y="155"/>
                  </a:lnTo>
                  <a:lnTo>
                    <a:pt x="1724" y="155"/>
                  </a:lnTo>
                  <a:lnTo>
                    <a:pt x="1701" y="155"/>
                  </a:lnTo>
                  <a:lnTo>
                    <a:pt x="1701" y="155"/>
                  </a:lnTo>
                  <a:lnTo>
                    <a:pt x="1654" y="155"/>
                  </a:lnTo>
                  <a:lnTo>
                    <a:pt x="1654" y="155"/>
                  </a:lnTo>
                  <a:lnTo>
                    <a:pt x="1642" y="155"/>
                  </a:lnTo>
                  <a:lnTo>
                    <a:pt x="1642" y="155"/>
                  </a:lnTo>
                  <a:lnTo>
                    <a:pt x="1635" y="155"/>
                  </a:lnTo>
                  <a:lnTo>
                    <a:pt x="1630" y="155"/>
                  </a:lnTo>
                  <a:lnTo>
                    <a:pt x="1630" y="155"/>
                  </a:lnTo>
                  <a:lnTo>
                    <a:pt x="1630" y="158"/>
                  </a:lnTo>
                  <a:lnTo>
                    <a:pt x="1630" y="162"/>
                  </a:lnTo>
                  <a:lnTo>
                    <a:pt x="1630" y="167"/>
                  </a:lnTo>
                  <a:lnTo>
                    <a:pt x="1630" y="167"/>
                  </a:lnTo>
                  <a:lnTo>
                    <a:pt x="1607" y="167"/>
                  </a:lnTo>
                  <a:lnTo>
                    <a:pt x="1607" y="167"/>
                  </a:lnTo>
                  <a:lnTo>
                    <a:pt x="1607" y="179"/>
                  </a:lnTo>
                  <a:lnTo>
                    <a:pt x="1607" y="179"/>
                  </a:lnTo>
                  <a:lnTo>
                    <a:pt x="1607" y="186"/>
                  </a:lnTo>
                  <a:lnTo>
                    <a:pt x="1607" y="191"/>
                  </a:lnTo>
                  <a:lnTo>
                    <a:pt x="1607" y="191"/>
                  </a:lnTo>
                  <a:lnTo>
                    <a:pt x="1611" y="191"/>
                  </a:lnTo>
                  <a:lnTo>
                    <a:pt x="1618" y="191"/>
                  </a:lnTo>
                  <a:lnTo>
                    <a:pt x="1618" y="191"/>
                  </a:lnTo>
                  <a:lnTo>
                    <a:pt x="1618" y="202"/>
                  </a:lnTo>
                  <a:lnTo>
                    <a:pt x="1618" y="202"/>
                  </a:lnTo>
                  <a:lnTo>
                    <a:pt x="1618" y="228"/>
                  </a:lnTo>
                  <a:lnTo>
                    <a:pt x="1618" y="228"/>
                  </a:lnTo>
                  <a:lnTo>
                    <a:pt x="1611" y="228"/>
                  </a:lnTo>
                  <a:lnTo>
                    <a:pt x="1607" y="228"/>
                  </a:lnTo>
                  <a:lnTo>
                    <a:pt x="1607" y="228"/>
                  </a:lnTo>
                  <a:lnTo>
                    <a:pt x="1599" y="226"/>
                  </a:lnTo>
                  <a:lnTo>
                    <a:pt x="1595" y="228"/>
                  </a:lnTo>
                  <a:lnTo>
                    <a:pt x="1595" y="228"/>
                  </a:lnTo>
                  <a:lnTo>
                    <a:pt x="1588" y="228"/>
                  </a:lnTo>
                  <a:lnTo>
                    <a:pt x="1583" y="228"/>
                  </a:lnTo>
                  <a:lnTo>
                    <a:pt x="1583" y="228"/>
                  </a:lnTo>
                  <a:lnTo>
                    <a:pt x="1583" y="221"/>
                  </a:lnTo>
                  <a:lnTo>
                    <a:pt x="1583" y="217"/>
                  </a:lnTo>
                  <a:lnTo>
                    <a:pt x="1583" y="217"/>
                  </a:lnTo>
                  <a:lnTo>
                    <a:pt x="1583" y="217"/>
                  </a:lnTo>
                  <a:lnTo>
                    <a:pt x="1581" y="214"/>
                  </a:lnTo>
                  <a:lnTo>
                    <a:pt x="1583" y="209"/>
                  </a:lnTo>
                  <a:lnTo>
                    <a:pt x="1583" y="202"/>
                  </a:lnTo>
                  <a:lnTo>
                    <a:pt x="1583" y="202"/>
                  </a:lnTo>
                  <a:lnTo>
                    <a:pt x="1576" y="202"/>
                  </a:lnTo>
                  <a:lnTo>
                    <a:pt x="1571" y="202"/>
                  </a:lnTo>
                  <a:lnTo>
                    <a:pt x="1571" y="202"/>
                  </a:lnTo>
                  <a:lnTo>
                    <a:pt x="1559" y="202"/>
                  </a:lnTo>
                  <a:lnTo>
                    <a:pt x="1559" y="202"/>
                  </a:lnTo>
                  <a:lnTo>
                    <a:pt x="1548" y="202"/>
                  </a:lnTo>
                  <a:lnTo>
                    <a:pt x="1548" y="202"/>
                  </a:lnTo>
                  <a:lnTo>
                    <a:pt x="1522" y="202"/>
                  </a:lnTo>
                  <a:lnTo>
                    <a:pt x="1522" y="202"/>
                  </a:lnTo>
                  <a:lnTo>
                    <a:pt x="1510" y="202"/>
                  </a:lnTo>
                  <a:lnTo>
                    <a:pt x="1510" y="202"/>
                  </a:lnTo>
                  <a:lnTo>
                    <a:pt x="1505" y="202"/>
                  </a:lnTo>
                  <a:lnTo>
                    <a:pt x="1498" y="202"/>
                  </a:lnTo>
                  <a:lnTo>
                    <a:pt x="1498" y="202"/>
                  </a:lnTo>
                  <a:lnTo>
                    <a:pt x="1498" y="209"/>
                  </a:lnTo>
                  <a:lnTo>
                    <a:pt x="1498" y="217"/>
                  </a:lnTo>
                  <a:lnTo>
                    <a:pt x="1498" y="217"/>
                  </a:lnTo>
                  <a:lnTo>
                    <a:pt x="1493" y="217"/>
                  </a:lnTo>
                  <a:lnTo>
                    <a:pt x="1486" y="217"/>
                  </a:lnTo>
                  <a:lnTo>
                    <a:pt x="1486" y="217"/>
                  </a:lnTo>
                  <a:lnTo>
                    <a:pt x="1475" y="217"/>
                  </a:lnTo>
                  <a:lnTo>
                    <a:pt x="1475" y="217"/>
                  </a:lnTo>
                  <a:lnTo>
                    <a:pt x="1451" y="217"/>
                  </a:lnTo>
                  <a:lnTo>
                    <a:pt x="1451" y="217"/>
                  </a:lnTo>
                  <a:lnTo>
                    <a:pt x="1451" y="228"/>
                  </a:lnTo>
                  <a:lnTo>
                    <a:pt x="1451" y="228"/>
                  </a:lnTo>
                  <a:lnTo>
                    <a:pt x="1451" y="252"/>
                  </a:lnTo>
                  <a:lnTo>
                    <a:pt x="1451" y="252"/>
                  </a:lnTo>
                  <a:lnTo>
                    <a:pt x="1451" y="275"/>
                  </a:lnTo>
                  <a:lnTo>
                    <a:pt x="1451" y="275"/>
                  </a:lnTo>
                  <a:lnTo>
                    <a:pt x="1451" y="287"/>
                  </a:lnTo>
                  <a:lnTo>
                    <a:pt x="1451" y="287"/>
                  </a:lnTo>
                  <a:lnTo>
                    <a:pt x="1451" y="311"/>
                  </a:lnTo>
                  <a:lnTo>
                    <a:pt x="1451" y="311"/>
                  </a:lnTo>
                  <a:lnTo>
                    <a:pt x="1451" y="323"/>
                  </a:lnTo>
                  <a:lnTo>
                    <a:pt x="1451" y="323"/>
                  </a:lnTo>
                  <a:lnTo>
                    <a:pt x="1451" y="334"/>
                  </a:lnTo>
                  <a:lnTo>
                    <a:pt x="1451" y="334"/>
                  </a:lnTo>
                  <a:lnTo>
                    <a:pt x="1451" y="341"/>
                  </a:lnTo>
                  <a:lnTo>
                    <a:pt x="1451" y="346"/>
                  </a:lnTo>
                  <a:lnTo>
                    <a:pt x="1451" y="346"/>
                  </a:lnTo>
                  <a:lnTo>
                    <a:pt x="1449" y="346"/>
                  </a:lnTo>
                  <a:lnTo>
                    <a:pt x="1446" y="346"/>
                  </a:lnTo>
                  <a:lnTo>
                    <a:pt x="1439" y="346"/>
                  </a:lnTo>
                  <a:lnTo>
                    <a:pt x="1439" y="346"/>
                  </a:lnTo>
                  <a:lnTo>
                    <a:pt x="1439" y="353"/>
                  </a:lnTo>
                  <a:lnTo>
                    <a:pt x="1439" y="356"/>
                  </a:lnTo>
                  <a:lnTo>
                    <a:pt x="1439" y="358"/>
                  </a:lnTo>
                  <a:lnTo>
                    <a:pt x="1439" y="358"/>
                  </a:lnTo>
                  <a:lnTo>
                    <a:pt x="1435" y="358"/>
                  </a:lnTo>
                  <a:lnTo>
                    <a:pt x="1427" y="358"/>
                  </a:lnTo>
                  <a:lnTo>
                    <a:pt x="1427" y="358"/>
                  </a:lnTo>
                  <a:lnTo>
                    <a:pt x="1420" y="358"/>
                  </a:lnTo>
                  <a:lnTo>
                    <a:pt x="1416" y="358"/>
                  </a:lnTo>
                  <a:lnTo>
                    <a:pt x="1416" y="358"/>
                  </a:lnTo>
                  <a:lnTo>
                    <a:pt x="1416" y="353"/>
                  </a:lnTo>
                  <a:lnTo>
                    <a:pt x="1416" y="346"/>
                  </a:lnTo>
                  <a:lnTo>
                    <a:pt x="1416" y="346"/>
                  </a:lnTo>
                  <a:lnTo>
                    <a:pt x="1416" y="334"/>
                  </a:lnTo>
                  <a:lnTo>
                    <a:pt x="1416" y="334"/>
                  </a:lnTo>
                  <a:lnTo>
                    <a:pt x="1416" y="323"/>
                  </a:lnTo>
                  <a:lnTo>
                    <a:pt x="1416" y="323"/>
                  </a:lnTo>
                  <a:lnTo>
                    <a:pt x="1392" y="323"/>
                  </a:lnTo>
                  <a:lnTo>
                    <a:pt x="1392" y="323"/>
                  </a:lnTo>
                  <a:lnTo>
                    <a:pt x="1380" y="323"/>
                  </a:lnTo>
                  <a:lnTo>
                    <a:pt x="1380" y="323"/>
                  </a:lnTo>
                  <a:lnTo>
                    <a:pt x="1357" y="323"/>
                  </a:lnTo>
                  <a:lnTo>
                    <a:pt x="1357" y="323"/>
                  </a:lnTo>
                  <a:lnTo>
                    <a:pt x="1357" y="311"/>
                  </a:lnTo>
                  <a:lnTo>
                    <a:pt x="1357" y="311"/>
                  </a:lnTo>
                  <a:lnTo>
                    <a:pt x="1357" y="299"/>
                  </a:lnTo>
                  <a:lnTo>
                    <a:pt x="1357" y="299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57" y="264"/>
                  </a:lnTo>
                  <a:lnTo>
                    <a:pt x="1357" y="264"/>
                  </a:lnTo>
                  <a:lnTo>
                    <a:pt x="1357" y="240"/>
                  </a:lnTo>
                  <a:lnTo>
                    <a:pt x="1357" y="240"/>
                  </a:lnTo>
                  <a:lnTo>
                    <a:pt x="1357" y="228"/>
                  </a:lnTo>
                  <a:lnTo>
                    <a:pt x="1357" y="228"/>
                  </a:lnTo>
                  <a:lnTo>
                    <a:pt x="1357" y="202"/>
                  </a:lnTo>
                  <a:lnTo>
                    <a:pt x="1357" y="202"/>
                  </a:lnTo>
                  <a:lnTo>
                    <a:pt x="1357" y="191"/>
                  </a:lnTo>
                  <a:lnTo>
                    <a:pt x="1357" y="191"/>
                  </a:lnTo>
                  <a:lnTo>
                    <a:pt x="1357" y="167"/>
                  </a:lnTo>
                  <a:lnTo>
                    <a:pt x="1357" y="167"/>
                  </a:lnTo>
                  <a:lnTo>
                    <a:pt x="1357" y="144"/>
                  </a:lnTo>
                  <a:lnTo>
                    <a:pt x="1357" y="144"/>
                  </a:lnTo>
                  <a:lnTo>
                    <a:pt x="1357" y="132"/>
                  </a:lnTo>
                  <a:lnTo>
                    <a:pt x="1357" y="132"/>
                  </a:lnTo>
                  <a:lnTo>
                    <a:pt x="1357" y="108"/>
                  </a:lnTo>
                  <a:lnTo>
                    <a:pt x="1357" y="108"/>
                  </a:lnTo>
                  <a:lnTo>
                    <a:pt x="1357" y="85"/>
                  </a:lnTo>
                  <a:lnTo>
                    <a:pt x="1357" y="85"/>
                  </a:lnTo>
                  <a:lnTo>
                    <a:pt x="1345" y="85"/>
                  </a:lnTo>
                  <a:lnTo>
                    <a:pt x="1345" y="85"/>
                  </a:lnTo>
                  <a:lnTo>
                    <a:pt x="1321" y="85"/>
                  </a:lnTo>
                  <a:lnTo>
                    <a:pt x="1321" y="85"/>
                  </a:lnTo>
                  <a:lnTo>
                    <a:pt x="1321" y="78"/>
                  </a:lnTo>
                  <a:lnTo>
                    <a:pt x="1321" y="75"/>
                  </a:lnTo>
                  <a:lnTo>
                    <a:pt x="1321" y="73"/>
                  </a:lnTo>
                  <a:lnTo>
                    <a:pt x="1321" y="73"/>
                  </a:lnTo>
                  <a:lnTo>
                    <a:pt x="1314" y="73"/>
                  </a:lnTo>
                  <a:lnTo>
                    <a:pt x="1310" y="73"/>
                  </a:lnTo>
                  <a:lnTo>
                    <a:pt x="1310" y="73"/>
                  </a:lnTo>
                  <a:lnTo>
                    <a:pt x="1303" y="73"/>
                  </a:lnTo>
                  <a:lnTo>
                    <a:pt x="1298" y="73"/>
                  </a:lnTo>
                  <a:lnTo>
                    <a:pt x="1298" y="73"/>
                  </a:lnTo>
                  <a:lnTo>
                    <a:pt x="1296" y="68"/>
                  </a:lnTo>
                  <a:lnTo>
                    <a:pt x="1298" y="61"/>
                  </a:lnTo>
                  <a:lnTo>
                    <a:pt x="1298" y="61"/>
                  </a:lnTo>
                  <a:lnTo>
                    <a:pt x="1284" y="61"/>
                  </a:lnTo>
                  <a:lnTo>
                    <a:pt x="1284" y="61"/>
                  </a:lnTo>
                  <a:lnTo>
                    <a:pt x="1272" y="61"/>
                  </a:lnTo>
                  <a:lnTo>
                    <a:pt x="1272" y="61"/>
                  </a:lnTo>
                  <a:lnTo>
                    <a:pt x="1260" y="61"/>
                  </a:lnTo>
                  <a:lnTo>
                    <a:pt x="1260" y="61"/>
                  </a:lnTo>
                  <a:lnTo>
                    <a:pt x="1248" y="61"/>
                  </a:lnTo>
                  <a:lnTo>
                    <a:pt x="1248" y="61"/>
                  </a:lnTo>
                  <a:lnTo>
                    <a:pt x="1244" y="61"/>
                  </a:lnTo>
                  <a:lnTo>
                    <a:pt x="1237" y="61"/>
                  </a:lnTo>
                  <a:lnTo>
                    <a:pt x="1237" y="61"/>
                  </a:lnTo>
                  <a:lnTo>
                    <a:pt x="1232" y="61"/>
                  </a:lnTo>
                  <a:lnTo>
                    <a:pt x="1225" y="61"/>
                  </a:lnTo>
                  <a:lnTo>
                    <a:pt x="1225" y="61"/>
                  </a:lnTo>
                  <a:lnTo>
                    <a:pt x="1225" y="63"/>
                  </a:lnTo>
                  <a:lnTo>
                    <a:pt x="1225" y="66"/>
                  </a:lnTo>
                  <a:lnTo>
                    <a:pt x="1225" y="70"/>
                  </a:lnTo>
                  <a:lnTo>
                    <a:pt x="1225" y="73"/>
                  </a:lnTo>
                  <a:lnTo>
                    <a:pt x="1225" y="73"/>
                  </a:lnTo>
                  <a:lnTo>
                    <a:pt x="1222" y="73"/>
                  </a:lnTo>
                  <a:lnTo>
                    <a:pt x="1220" y="73"/>
                  </a:lnTo>
                  <a:lnTo>
                    <a:pt x="1213" y="73"/>
                  </a:lnTo>
                  <a:lnTo>
                    <a:pt x="1213" y="73"/>
                  </a:lnTo>
                  <a:lnTo>
                    <a:pt x="1213" y="75"/>
                  </a:lnTo>
                  <a:lnTo>
                    <a:pt x="1213" y="78"/>
                  </a:lnTo>
                  <a:lnTo>
                    <a:pt x="1213" y="85"/>
                  </a:lnTo>
                  <a:lnTo>
                    <a:pt x="1213" y="85"/>
                  </a:lnTo>
                  <a:lnTo>
                    <a:pt x="1211" y="85"/>
                  </a:lnTo>
                  <a:lnTo>
                    <a:pt x="1208" y="85"/>
                  </a:lnTo>
                  <a:lnTo>
                    <a:pt x="1204" y="85"/>
                  </a:lnTo>
                  <a:lnTo>
                    <a:pt x="1201" y="85"/>
                  </a:lnTo>
                  <a:lnTo>
                    <a:pt x="1201" y="85"/>
                  </a:lnTo>
                  <a:lnTo>
                    <a:pt x="1201" y="87"/>
                  </a:lnTo>
                  <a:lnTo>
                    <a:pt x="1201" y="89"/>
                  </a:lnTo>
                  <a:lnTo>
                    <a:pt x="1201" y="96"/>
                  </a:lnTo>
                  <a:lnTo>
                    <a:pt x="1201" y="96"/>
                  </a:lnTo>
                  <a:lnTo>
                    <a:pt x="1199" y="96"/>
                  </a:lnTo>
                  <a:lnTo>
                    <a:pt x="1197" y="96"/>
                  </a:lnTo>
                  <a:lnTo>
                    <a:pt x="1189" y="96"/>
                  </a:lnTo>
                  <a:lnTo>
                    <a:pt x="1189" y="96"/>
                  </a:lnTo>
                  <a:lnTo>
                    <a:pt x="1189" y="99"/>
                  </a:lnTo>
                  <a:lnTo>
                    <a:pt x="1189" y="103"/>
                  </a:lnTo>
                  <a:lnTo>
                    <a:pt x="1189" y="106"/>
                  </a:lnTo>
                  <a:lnTo>
                    <a:pt x="1189" y="108"/>
                  </a:lnTo>
                  <a:lnTo>
                    <a:pt x="1189" y="108"/>
                  </a:lnTo>
                  <a:lnTo>
                    <a:pt x="1187" y="108"/>
                  </a:lnTo>
                  <a:lnTo>
                    <a:pt x="1185" y="108"/>
                  </a:lnTo>
                  <a:lnTo>
                    <a:pt x="1178" y="108"/>
                  </a:lnTo>
                  <a:lnTo>
                    <a:pt x="1178" y="108"/>
                  </a:lnTo>
                  <a:lnTo>
                    <a:pt x="1178" y="111"/>
                  </a:lnTo>
                  <a:lnTo>
                    <a:pt x="1178" y="115"/>
                  </a:lnTo>
                  <a:lnTo>
                    <a:pt x="1178" y="120"/>
                  </a:lnTo>
                  <a:lnTo>
                    <a:pt x="1178" y="120"/>
                  </a:lnTo>
                  <a:lnTo>
                    <a:pt x="1175" y="120"/>
                  </a:lnTo>
                  <a:lnTo>
                    <a:pt x="1173" y="120"/>
                  </a:lnTo>
                  <a:lnTo>
                    <a:pt x="1166" y="120"/>
                  </a:lnTo>
                  <a:lnTo>
                    <a:pt x="1166" y="120"/>
                  </a:lnTo>
                  <a:lnTo>
                    <a:pt x="1166" y="132"/>
                  </a:lnTo>
                  <a:lnTo>
                    <a:pt x="1166" y="132"/>
                  </a:lnTo>
                  <a:lnTo>
                    <a:pt x="1166" y="155"/>
                  </a:lnTo>
                  <a:lnTo>
                    <a:pt x="1166" y="155"/>
                  </a:lnTo>
                  <a:lnTo>
                    <a:pt x="1166" y="167"/>
                  </a:lnTo>
                  <a:lnTo>
                    <a:pt x="1166" y="167"/>
                  </a:lnTo>
                  <a:lnTo>
                    <a:pt x="1166" y="191"/>
                  </a:lnTo>
                  <a:lnTo>
                    <a:pt x="1166" y="191"/>
                  </a:lnTo>
                  <a:lnTo>
                    <a:pt x="1166" y="202"/>
                  </a:lnTo>
                  <a:lnTo>
                    <a:pt x="1166" y="202"/>
                  </a:lnTo>
                  <a:lnTo>
                    <a:pt x="1166" y="228"/>
                  </a:lnTo>
                  <a:lnTo>
                    <a:pt x="1166" y="228"/>
                  </a:lnTo>
                  <a:lnTo>
                    <a:pt x="1166" y="240"/>
                  </a:lnTo>
                  <a:lnTo>
                    <a:pt x="1166" y="240"/>
                  </a:lnTo>
                  <a:lnTo>
                    <a:pt x="1166" y="264"/>
                  </a:lnTo>
                  <a:lnTo>
                    <a:pt x="1166" y="264"/>
                  </a:lnTo>
                  <a:lnTo>
                    <a:pt x="1166" y="275"/>
                  </a:lnTo>
                  <a:lnTo>
                    <a:pt x="1166" y="275"/>
                  </a:lnTo>
                  <a:lnTo>
                    <a:pt x="1166" y="299"/>
                  </a:lnTo>
                  <a:lnTo>
                    <a:pt x="1166" y="299"/>
                  </a:lnTo>
                  <a:lnTo>
                    <a:pt x="1159" y="299"/>
                  </a:lnTo>
                  <a:lnTo>
                    <a:pt x="1154" y="299"/>
                  </a:lnTo>
                  <a:lnTo>
                    <a:pt x="1154" y="299"/>
                  </a:lnTo>
                  <a:lnTo>
                    <a:pt x="1147" y="299"/>
                  </a:lnTo>
                  <a:lnTo>
                    <a:pt x="1142" y="299"/>
                  </a:lnTo>
                  <a:lnTo>
                    <a:pt x="1142" y="299"/>
                  </a:lnTo>
                  <a:lnTo>
                    <a:pt x="1142" y="297"/>
                  </a:lnTo>
                  <a:lnTo>
                    <a:pt x="1142" y="292"/>
                  </a:lnTo>
                  <a:lnTo>
                    <a:pt x="1142" y="287"/>
                  </a:lnTo>
                  <a:lnTo>
                    <a:pt x="1142" y="287"/>
                  </a:lnTo>
                  <a:lnTo>
                    <a:pt x="1135" y="287"/>
                  </a:lnTo>
                  <a:lnTo>
                    <a:pt x="1131" y="287"/>
                  </a:lnTo>
                  <a:lnTo>
                    <a:pt x="1131" y="287"/>
                  </a:lnTo>
                  <a:lnTo>
                    <a:pt x="1119" y="287"/>
                  </a:lnTo>
                  <a:lnTo>
                    <a:pt x="1119" y="287"/>
                  </a:lnTo>
                  <a:lnTo>
                    <a:pt x="1107" y="287"/>
                  </a:lnTo>
                  <a:lnTo>
                    <a:pt x="1107" y="287"/>
                  </a:lnTo>
                  <a:lnTo>
                    <a:pt x="1083" y="287"/>
                  </a:lnTo>
                  <a:lnTo>
                    <a:pt x="1083" y="287"/>
                  </a:lnTo>
                  <a:lnTo>
                    <a:pt x="1060" y="287"/>
                  </a:lnTo>
                  <a:lnTo>
                    <a:pt x="1060" y="287"/>
                  </a:lnTo>
                  <a:lnTo>
                    <a:pt x="1053" y="287"/>
                  </a:lnTo>
                  <a:lnTo>
                    <a:pt x="1048" y="287"/>
                  </a:lnTo>
                  <a:lnTo>
                    <a:pt x="1046" y="287"/>
                  </a:lnTo>
                  <a:lnTo>
                    <a:pt x="1046" y="287"/>
                  </a:lnTo>
                  <a:lnTo>
                    <a:pt x="1046" y="290"/>
                  </a:lnTo>
                  <a:lnTo>
                    <a:pt x="1046" y="292"/>
                  </a:lnTo>
                  <a:lnTo>
                    <a:pt x="1046" y="299"/>
                  </a:lnTo>
                  <a:lnTo>
                    <a:pt x="1046" y="299"/>
                  </a:lnTo>
                  <a:lnTo>
                    <a:pt x="1048" y="304"/>
                  </a:lnTo>
                  <a:lnTo>
                    <a:pt x="1048" y="308"/>
                  </a:lnTo>
                  <a:lnTo>
                    <a:pt x="1046" y="311"/>
                  </a:lnTo>
                  <a:lnTo>
                    <a:pt x="1046" y="311"/>
                  </a:lnTo>
                  <a:lnTo>
                    <a:pt x="1043" y="311"/>
                  </a:lnTo>
                  <a:lnTo>
                    <a:pt x="1041" y="311"/>
                  </a:lnTo>
                  <a:lnTo>
                    <a:pt x="1034" y="311"/>
                  </a:lnTo>
                  <a:lnTo>
                    <a:pt x="1034" y="311"/>
                  </a:lnTo>
                  <a:lnTo>
                    <a:pt x="1029" y="311"/>
                  </a:lnTo>
                  <a:lnTo>
                    <a:pt x="1022" y="311"/>
                  </a:lnTo>
                  <a:lnTo>
                    <a:pt x="1022" y="311"/>
                  </a:lnTo>
                  <a:lnTo>
                    <a:pt x="1017" y="311"/>
                  </a:lnTo>
                  <a:lnTo>
                    <a:pt x="1010" y="311"/>
                  </a:lnTo>
                  <a:lnTo>
                    <a:pt x="1010" y="311"/>
                  </a:lnTo>
                  <a:lnTo>
                    <a:pt x="1010" y="316"/>
                  </a:lnTo>
                  <a:lnTo>
                    <a:pt x="1010" y="323"/>
                  </a:lnTo>
                  <a:lnTo>
                    <a:pt x="1010" y="323"/>
                  </a:lnTo>
                  <a:lnTo>
                    <a:pt x="1008" y="323"/>
                  </a:lnTo>
                  <a:lnTo>
                    <a:pt x="1006" y="323"/>
                  </a:lnTo>
                  <a:lnTo>
                    <a:pt x="999" y="323"/>
                  </a:lnTo>
                  <a:lnTo>
                    <a:pt x="999" y="323"/>
                  </a:lnTo>
                  <a:lnTo>
                    <a:pt x="975" y="323"/>
                  </a:lnTo>
                  <a:lnTo>
                    <a:pt x="975" y="323"/>
                  </a:lnTo>
                  <a:lnTo>
                    <a:pt x="975" y="275"/>
                  </a:lnTo>
                  <a:lnTo>
                    <a:pt x="975" y="275"/>
                  </a:lnTo>
                  <a:lnTo>
                    <a:pt x="975" y="252"/>
                  </a:lnTo>
                  <a:lnTo>
                    <a:pt x="975" y="252"/>
                  </a:lnTo>
                  <a:lnTo>
                    <a:pt x="970" y="252"/>
                  </a:lnTo>
                  <a:lnTo>
                    <a:pt x="966" y="252"/>
                  </a:lnTo>
                  <a:lnTo>
                    <a:pt x="963" y="252"/>
                  </a:lnTo>
                  <a:lnTo>
                    <a:pt x="963" y="252"/>
                  </a:lnTo>
                  <a:lnTo>
                    <a:pt x="963" y="240"/>
                  </a:lnTo>
                  <a:lnTo>
                    <a:pt x="963" y="240"/>
                  </a:lnTo>
                  <a:lnTo>
                    <a:pt x="963" y="228"/>
                  </a:lnTo>
                  <a:lnTo>
                    <a:pt x="963" y="228"/>
                  </a:lnTo>
                  <a:lnTo>
                    <a:pt x="963" y="217"/>
                  </a:lnTo>
                  <a:lnTo>
                    <a:pt x="963" y="217"/>
                  </a:lnTo>
                  <a:lnTo>
                    <a:pt x="963" y="202"/>
                  </a:lnTo>
                  <a:lnTo>
                    <a:pt x="963" y="202"/>
                  </a:lnTo>
                  <a:lnTo>
                    <a:pt x="963" y="179"/>
                  </a:lnTo>
                  <a:lnTo>
                    <a:pt x="963" y="179"/>
                  </a:lnTo>
                  <a:lnTo>
                    <a:pt x="959" y="179"/>
                  </a:lnTo>
                  <a:lnTo>
                    <a:pt x="951" y="179"/>
                  </a:lnTo>
                  <a:lnTo>
                    <a:pt x="951" y="179"/>
                  </a:lnTo>
                  <a:lnTo>
                    <a:pt x="951" y="167"/>
                  </a:lnTo>
                  <a:lnTo>
                    <a:pt x="951" y="167"/>
                  </a:lnTo>
                  <a:lnTo>
                    <a:pt x="951" y="155"/>
                  </a:lnTo>
                  <a:lnTo>
                    <a:pt x="951" y="155"/>
                  </a:lnTo>
                  <a:lnTo>
                    <a:pt x="904" y="155"/>
                  </a:lnTo>
                  <a:lnTo>
                    <a:pt x="904" y="155"/>
                  </a:lnTo>
                  <a:lnTo>
                    <a:pt x="881" y="155"/>
                  </a:lnTo>
                  <a:lnTo>
                    <a:pt x="881" y="155"/>
                  </a:lnTo>
                  <a:lnTo>
                    <a:pt x="881" y="132"/>
                  </a:lnTo>
                  <a:lnTo>
                    <a:pt x="881" y="132"/>
                  </a:lnTo>
                  <a:lnTo>
                    <a:pt x="874" y="132"/>
                  </a:lnTo>
                  <a:lnTo>
                    <a:pt x="871" y="132"/>
                  </a:lnTo>
                  <a:lnTo>
                    <a:pt x="869" y="132"/>
                  </a:lnTo>
                  <a:lnTo>
                    <a:pt x="869" y="132"/>
                  </a:lnTo>
                  <a:lnTo>
                    <a:pt x="869" y="127"/>
                  </a:lnTo>
                  <a:lnTo>
                    <a:pt x="869" y="120"/>
                  </a:lnTo>
                  <a:lnTo>
                    <a:pt x="869" y="120"/>
                  </a:lnTo>
                  <a:lnTo>
                    <a:pt x="869" y="108"/>
                  </a:lnTo>
                  <a:lnTo>
                    <a:pt x="869" y="108"/>
                  </a:lnTo>
                  <a:lnTo>
                    <a:pt x="869" y="96"/>
                  </a:lnTo>
                  <a:lnTo>
                    <a:pt x="869" y="96"/>
                  </a:lnTo>
                  <a:lnTo>
                    <a:pt x="857" y="96"/>
                  </a:lnTo>
                  <a:lnTo>
                    <a:pt x="857" y="96"/>
                  </a:lnTo>
                  <a:lnTo>
                    <a:pt x="845" y="96"/>
                  </a:lnTo>
                  <a:lnTo>
                    <a:pt x="845" y="96"/>
                  </a:lnTo>
                  <a:lnTo>
                    <a:pt x="838" y="96"/>
                  </a:lnTo>
                  <a:lnTo>
                    <a:pt x="834" y="96"/>
                  </a:lnTo>
                  <a:lnTo>
                    <a:pt x="834" y="96"/>
                  </a:lnTo>
                  <a:lnTo>
                    <a:pt x="831" y="99"/>
                  </a:lnTo>
                  <a:lnTo>
                    <a:pt x="834" y="101"/>
                  </a:lnTo>
                  <a:lnTo>
                    <a:pt x="834" y="108"/>
                  </a:lnTo>
                  <a:lnTo>
                    <a:pt x="834" y="108"/>
                  </a:lnTo>
                  <a:lnTo>
                    <a:pt x="827" y="108"/>
                  </a:lnTo>
                  <a:lnTo>
                    <a:pt x="824" y="108"/>
                  </a:lnTo>
                  <a:lnTo>
                    <a:pt x="822" y="108"/>
                  </a:lnTo>
                  <a:lnTo>
                    <a:pt x="822" y="108"/>
                  </a:lnTo>
                  <a:lnTo>
                    <a:pt x="820" y="111"/>
                  </a:lnTo>
                  <a:lnTo>
                    <a:pt x="822" y="115"/>
                  </a:lnTo>
                  <a:lnTo>
                    <a:pt x="822" y="118"/>
                  </a:lnTo>
                  <a:lnTo>
                    <a:pt x="822" y="120"/>
                  </a:lnTo>
                  <a:lnTo>
                    <a:pt x="822" y="120"/>
                  </a:lnTo>
                  <a:lnTo>
                    <a:pt x="820" y="120"/>
                  </a:lnTo>
                  <a:lnTo>
                    <a:pt x="815" y="120"/>
                  </a:lnTo>
                  <a:lnTo>
                    <a:pt x="812" y="120"/>
                  </a:lnTo>
                  <a:lnTo>
                    <a:pt x="810" y="120"/>
                  </a:lnTo>
                  <a:lnTo>
                    <a:pt x="810" y="120"/>
                  </a:lnTo>
                  <a:lnTo>
                    <a:pt x="808" y="122"/>
                  </a:lnTo>
                  <a:lnTo>
                    <a:pt x="808" y="127"/>
                  </a:lnTo>
                  <a:lnTo>
                    <a:pt x="810" y="132"/>
                  </a:lnTo>
                  <a:lnTo>
                    <a:pt x="810" y="132"/>
                  </a:lnTo>
                  <a:lnTo>
                    <a:pt x="803" y="132"/>
                  </a:lnTo>
                  <a:lnTo>
                    <a:pt x="796" y="132"/>
                  </a:lnTo>
                  <a:lnTo>
                    <a:pt x="796" y="132"/>
                  </a:lnTo>
                  <a:lnTo>
                    <a:pt x="796" y="139"/>
                  </a:lnTo>
                  <a:lnTo>
                    <a:pt x="796" y="144"/>
                  </a:lnTo>
                  <a:lnTo>
                    <a:pt x="796" y="144"/>
                  </a:lnTo>
                  <a:lnTo>
                    <a:pt x="796" y="155"/>
                  </a:lnTo>
                  <a:lnTo>
                    <a:pt x="796" y="155"/>
                  </a:lnTo>
                  <a:lnTo>
                    <a:pt x="796" y="167"/>
                  </a:lnTo>
                  <a:lnTo>
                    <a:pt x="796" y="167"/>
                  </a:lnTo>
                  <a:lnTo>
                    <a:pt x="796" y="217"/>
                  </a:lnTo>
                  <a:lnTo>
                    <a:pt x="796" y="217"/>
                  </a:lnTo>
                  <a:lnTo>
                    <a:pt x="784" y="217"/>
                  </a:lnTo>
                  <a:lnTo>
                    <a:pt x="784" y="217"/>
                  </a:lnTo>
                  <a:lnTo>
                    <a:pt x="761" y="217"/>
                  </a:lnTo>
                  <a:lnTo>
                    <a:pt x="761" y="217"/>
                  </a:lnTo>
                  <a:lnTo>
                    <a:pt x="761" y="264"/>
                  </a:lnTo>
                  <a:lnTo>
                    <a:pt x="761" y="264"/>
                  </a:lnTo>
                  <a:lnTo>
                    <a:pt x="761" y="311"/>
                  </a:lnTo>
                  <a:lnTo>
                    <a:pt x="761" y="311"/>
                  </a:lnTo>
                  <a:lnTo>
                    <a:pt x="749" y="311"/>
                  </a:lnTo>
                  <a:lnTo>
                    <a:pt x="749" y="311"/>
                  </a:lnTo>
                  <a:lnTo>
                    <a:pt x="744" y="311"/>
                  </a:lnTo>
                  <a:lnTo>
                    <a:pt x="737" y="311"/>
                  </a:lnTo>
                  <a:lnTo>
                    <a:pt x="737" y="311"/>
                  </a:lnTo>
                  <a:lnTo>
                    <a:pt x="737" y="304"/>
                  </a:lnTo>
                  <a:lnTo>
                    <a:pt x="737" y="299"/>
                  </a:lnTo>
                  <a:lnTo>
                    <a:pt x="737" y="299"/>
                  </a:lnTo>
                  <a:lnTo>
                    <a:pt x="737" y="287"/>
                  </a:lnTo>
                  <a:lnTo>
                    <a:pt x="737" y="287"/>
                  </a:lnTo>
                  <a:lnTo>
                    <a:pt x="737" y="275"/>
                  </a:lnTo>
                  <a:lnTo>
                    <a:pt x="737" y="275"/>
                  </a:lnTo>
                  <a:lnTo>
                    <a:pt x="737" y="252"/>
                  </a:lnTo>
                  <a:lnTo>
                    <a:pt x="737" y="252"/>
                  </a:lnTo>
                  <a:lnTo>
                    <a:pt x="690" y="252"/>
                  </a:lnTo>
                  <a:lnTo>
                    <a:pt x="690" y="252"/>
                  </a:lnTo>
                  <a:lnTo>
                    <a:pt x="678" y="252"/>
                  </a:lnTo>
                  <a:lnTo>
                    <a:pt x="678" y="252"/>
                  </a:lnTo>
                  <a:lnTo>
                    <a:pt x="655" y="252"/>
                  </a:lnTo>
                  <a:lnTo>
                    <a:pt x="655" y="252"/>
                  </a:lnTo>
                  <a:lnTo>
                    <a:pt x="655" y="202"/>
                  </a:lnTo>
                  <a:lnTo>
                    <a:pt x="655" y="202"/>
                  </a:lnTo>
                  <a:lnTo>
                    <a:pt x="655" y="155"/>
                  </a:lnTo>
                  <a:lnTo>
                    <a:pt x="655" y="155"/>
                  </a:lnTo>
                  <a:lnTo>
                    <a:pt x="655" y="144"/>
                  </a:lnTo>
                  <a:lnTo>
                    <a:pt x="655" y="144"/>
                  </a:lnTo>
                  <a:lnTo>
                    <a:pt x="648" y="144"/>
                  </a:lnTo>
                  <a:lnTo>
                    <a:pt x="645" y="144"/>
                  </a:lnTo>
                  <a:lnTo>
                    <a:pt x="643" y="144"/>
                  </a:lnTo>
                  <a:lnTo>
                    <a:pt x="643" y="144"/>
                  </a:lnTo>
                  <a:lnTo>
                    <a:pt x="643" y="141"/>
                  </a:lnTo>
                  <a:lnTo>
                    <a:pt x="643" y="139"/>
                  </a:lnTo>
                  <a:lnTo>
                    <a:pt x="643" y="132"/>
                  </a:lnTo>
                  <a:lnTo>
                    <a:pt x="643" y="132"/>
                  </a:lnTo>
                  <a:lnTo>
                    <a:pt x="643" y="127"/>
                  </a:lnTo>
                  <a:lnTo>
                    <a:pt x="643" y="120"/>
                  </a:lnTo>
                  <a:lnTo>
                    <a:pt x="643" y="120"/>
                  </a:lnTo>
                  <a:lnTo>
                    <a:pt x="640" y="120"/>
                  </a:lnTo>
                  <a:lnTo>
                    <a:pt x="636" y="120"/>
                  </a:lnTo>
                  <a:lnTo>
                    <a:pt x="631" y="120"/>
                  </a:lnTo>
                  <a:lnTo>
                    <a:pt x="631" y="120"/>
                  </a:lnTo>
                  <a:lnTo>
                    <a:pt x="631" y="118"/>
                  </a:lnTo>
                  <a:lnTo>
                    <a:pt x="631" y="115"/>
                  </a:lnTo>
                  <a:lnTo>
                    <a:pt x="631" y="108"/>
                  </a:lnTo>
                  <a:lnTo>
                    <a:pt x="631" y="108"/>
                  </a:lnTo>
                  <a:lnTo>
                    <a:pt x="631" y="96"/>
                  </a:lnTo>
                  <a:lnTo>
                    <a:pt x="631" y="96"/>
                  </a:lnTo>
                  <a:lnTo>
                    <a:pt x="631" y="73"/>
                  </a:lnTo>
                  <a:lnTo>
                    <a:pt x="631" y="73"/>
                  </a:lnTo>
                  <a:lnTo>
                    <a:pt x="631" y="49"/>
                  </a:lnTo>
                  <a:lnTo>
                    <a:pt x="631" y="49"/>
                  </a:lnTo>
                  <a:lnTo>
                    <a:pt x="607" y="49"/>
                  </a:lnTo>
                  <a:lnTo>
                    <a:pt x="607" y="49"/>
                  </a:lnTo>
                  <a:lnTo>
                    <a:pt x="607" y="73"/>
                  </a:lnTo>
                  <a:lnTo>
                    <a:pt x="607" y="73"/>
                  </a:lnTo>
                  <a:lnTo>
                    <a:pt x="607" y="120"/>
                  </a:lnTo>
                  <a:lnTo>
                    <a:pt x="607" y="120"/>
                  </a:lnTo>
                  <a:lnTo>
                    <a:pt x="600" y="120"/>
                  </a:lnTo>
                  <a:lnTo>
                    <a:pt x="596" y="120"/>
                  </a:lnTo>
                  <a:lnTo>
                    <a:pt x="596" y="120"/>
                  </a:lnTo>
                  <a:lnTo>
                    <a:pt x="593" y="118"/>
                  </a:lnTo>
                  <a:lnTo>
                    <a:pt x="596" y="115"/>
                  </a:lnTo>
                  <a:lnTo>
                    <a:pt x="596" y="108"/>
                  </a:lnTo>
                  <a:lnTo>
                    <a:pt x="596" y="108"/>
                  </a:lnTo>
                  <a:lnTo>
                    <a:pt x="584" y="108"/>
                  </a:lnTo>
                  <a:lnTo>
                    <a:pt x="584" y="108"/>
                  </a:lnTo>
                  <a:lnTo>
                    <a:pt x="572" y="108"/>
                  </a:lnTo>
                  <a:lnTo>
                    <a:pt x="572" y="108"/>
                  </a:lnTo>
                  <a:lnTo>
                    <a:pt x="523" y="108"/>
                  </a:lnTo>
                  <a:lnTo>
                    <a:pt x="523" y="108"/>
                  </a:lnTo>
                  <a:lnTo>
                    <a:pt x="523" y="120"/>
                  </a:lnTo>
                  <a:lnTo>
                    <a:pt x="523" y="120"/>
                  </a:lnTo>
                  <a:lnTo>
                    <a:pt x="525" y="127"/>
                  </a:lnTo>
                  <a:lnTo>
                    <a:pt x="523" y="132"/>
                  </a:lnTo>
                  <a:lnTo>
                    <a:pt x="523" y="132"/>
                  </a:lnTo>
                  <a:lnTo>
                    <a:pt x="520" y="132"/>
                  </a:lnTo>
                  <a:lnTo>
                    <a:pt x="518" y="132"/>
                  </a:lnTo>
                  <a:lnTo>
                    <a:pt x="513" y="132"/>
                  </a:lnTo>
                  <a:lnTo>
                    <a:pt x="511" y="132"/>
                  </a:lnTo>
                  <a:lnTo>
                    <a:pt x="511" y="132"/>
                  </a:lnTo>
                  <a:lnTo>
                    <a:pt x="511" y="134"/>
                  </a:lnTo>
                  <a:lnTo>
                    <a:pt x="511" y="139"/>
                  </a:lnTo>
                  <a:lnTo>
                    <a:pt x="511" y="144"/>
                  </a:lnTo>
                  <a:lnTo>
                    <a:pt x="511" y="144"/>
                  </a:lnTo>
                  <a:lnTo>
                    <a:pt x="499" y="144"/>
                  </a:lnTo>
                  <a:lnTo>
                    <a:pt x="499" y="144"/>
                  </a:lnTo>
                  <a:lnTo>
                    <a:pt x="487" y="144"/>
                  </a:lnTo>
                  <a:lnTo>
                    <a:pt x="487" y="144"/>
                  </a:lnTo>
                  <a:lnTo>
                    <a:pt x="487" y="155"/>
                  </a:lnTo>
                  <a:lnTo>
                    <a:pt x="487" y="155"/>
                  </a:lnTo>
                  <a:lnTo>
                    <a:pt x="487" y="162"/>
                  </a:lnTo>
                  <a:lnTo>
                    <a:pt x="487" y="167"/>
                  </a:lnTo>
                  <a:lnTo>
                    <a:pt x="487" y="167"/>
                  </a:lnTo>
                  <a:lnTo>
                    <a:pt x="494" y="167"/>
                  </a:lnTo>
                  <a:lnTo>
                    <a:pt x="499" y="167"/>
                  </a:lnTo>
                  <a:lnTo>
                    <a:pt x="499" y="167"/>
                  </a:lnTo>
                  <a:lnTo>
                    <a:pt x="501" y="169"/>
                  </a:lnTo>
                  <a:lnTo>
                    <a:pt x="499" y="174"/>
                  </a:lnTo>
                  <a:lnTo>
                    <a:pt x="499" y="179"/>
                  </a:lnTo>
                  <a:lnTo>
                    <a:pt x="499" y="179"/>
                  </a:lnTo>
                  <a:lnTo>
                    <a:pt x="499" y="191"/>
                  </a:lnTo>
                  <a:lnTo>
                    <a:pt x="499" y="191"/>
                  </a:lnTo>
                  <a:lnTo>
                    <a:pt x="499" y="202"/>
                  </a:lnTo>
                  <a:lnTo>
                    <a:pt x="499" y="202"/>
                  </a:lnTo>
                  <a:lnTo>
                    <a:pt x="499" y="209"/>
                  </a:lnTo>
                  <a:lnTo>
                    <a:pt x="499" y="217"/>
                  </a:lnTo>
                  <a:lnTo>
                    <a:pt x="499" y="217"/>
                  </a:lnTo>
                  <a:lnTo>
                    <a:pt x="497" y="217"/>
                  </a:lnTo>
                  <a:lnTo>
                    <a:pt x="494" y="217"/>
                  </a:lnTo>
                  <a:lnTo>
                    <a:pt x="487" y="217"/>
                  </a:lnTo>
                  <a:lnTo>
                    <a:pt x="487" y="217"/>
                  </a:lnTo>
                  <a:lnTo>
                    <a:pt x="487" y="209"/>
                  </a:lnTo>
                  <a:lnTo>
                    <a:pt x="487" y="205"/>
                  </a:lnTo>
                  <a:lnTo>
                    <a:pt x="487" y="202"/>
                  </a:lnTo>
                  <a:lnTo>
                    <a:pt x="487" y="202"/>
                  </a:lnTo>
                  <a:lnTo>
                    <a:pt x="483" y="202"/>
                  </a:lnTo>
                  <a:lnTo>
                    <a:pt x="476" y="202"/>
                  </a:lnTo>
                  <a:lnTo>
                    <a:pt x="476" y="202"/>
                  </a:lnTo>
                  <a:lnTo>
                    <a:pt x="476" y="198"/>
                  </a:lnTo>
                  <a:lnTo>
                    <a:pt x="476" y="191"/>
                  </a:lnTo>
                  <a:lnTo>
                    <a:pt x="476" y="191"/>
                  </a:lnTo>
                  <a:lnTo>
                    <a:pt x="476" y="179"/>
                  </a:lnTo>
                  <a:lnTo>
                    <a:pt x="476" y="179"/>
                  </a:lnTo>
                  <a:lnTo>
                    <a:pt x="476" y="167"/>
                  </a:lnTo>
                  <a:lnTo>
                    <a:pt x="476" y="167"/>
                  </a:lnTo>
                  <a:lnTo>
                    <a:pt x="476" y="144"/>
                  </a:lnTo>
                  <a:lnTo>
                    <a:pt x="476" y="144"/>
                  </a:lnTo>
                  <a:lnTo>
                    <a:pt x="476" y="120"/>
                  </a:lnTo>
                  <a:lnTo>
                    <a:pt x="476" y="120"/>
                  </a:lnTo>
                  <a:lnTo>
                    <a:pt x="471" y="120"/>
                  </a:lnTo>
                  <a:lnTo>
                    <a:pt x="464" y="120"/>
                  </a:lnTo>
                  <a:lnTo>
                    <a:pt x="464" y="120"/>
                  </a:lnTo>
                  <a:lnTo>
                    <a:pt x="464" y="118"/>
                  </a:lnTo>
                  <a:lnTo>
                    <a:pt x="464" y="115"/>
                  </a:lnTo>
                  <a:lnTo>
                    <a:pt x="464" y="108"/>
                  </a:lnTo>
                  <a:lnTo>
                    <a:pt x="464" y="108"/>
                  </a:lnTo>
                  <a:lnTo>
                    <a:pt x="457" y="108"/>
                  </a:lnTo>
                  <a:lnTo>
                    <a:pt x="452" y="108"/>
                  </a:lnTo>
                  <a:lnTo>
                    <a:pt x="452" y="108"/>
                  </a:lnTo>
                  <a:lnTo>
                    <a:pt x="452" y="103"/>
                  </a:lnTo>
                  <a:lnTo>
                    <a:pt x="452" y="96"/>
                  </a:lnTo>
                  <a:lnTo>
                    <a:pt x="452" y="96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2" y="78"/>
                  </a:lnTo>
                  <a:lnTo>
                    <a:pt x="452" y="73"/>
                  </a:lnTo>
                  <a:lnTo>
                    <a:pt x="452" y="73"/>
                  </a:lnTo>
                  <a:lnTo>
                    <a:pt x="450" y="73"/>
                  </a:lnTo>
                  <a:lnTo>
                    <a:pt x="447" y="73"/>
                  </a:lnTo>
                  <a:lnTo>
                    <a:pt x="440" y="73"/>
                  </a:lnTo>
                  <a:lnTo>
                    <a:pt x="440" y="73"/>
                  </a:lnTo>
                  <a:lnTo>
                    <a:pt x="440" y="49"/>
                  </a:lnTo>
                  <a:lnTo>
                    <a:pt x="440" y="49"/>
                  </a:lnTo>
                  <a:lnTo>
                    <a:pt x="440" y="37"/>
                  </a:lnTo>
                  <a:lnTo>
                    <a:pt x="440" y="37"/>
                  </a:lnTo>
                  <a:lnTo>
                    <a:pt x="440" y="26"/>
                  </a:lnTo>
                  <a:lnTo>
                    <a:pt x="440" y="26"/>
                  </a:lnTo>
                  <a:lnTo>
                    <a:pt x="440" y="14"/>
                  </a:lnTo>
                  <a:lnTo>
                    <a:pt x="440" y="14"/>
                  </a:lnTo>
                  <a:lnTo>
                    <a:pt x="440" y="7"/>
                  </a:lnTo>
                  <a:lnTo>
                    <a:pt x="440" y="2"/>
                  </a:lnTo>
                  <a:lnTo>
                    <a:pt x="440" y="2"/>
                  </a:lnTo>
                  <a:lnTo>
                    <a:pt x="438" y="0"/>
                  </a:lnTo>
                  <a:lnTo>
                    <a:pt x="435" y="2"/>
                  </a:lnTo>
                  <a:lnTo>
                    <a:pt x="428" y="2"/>
                  </a:lnTo>
                  <a:lnTo>
                    <a:pt x="428" y="2"/>
                  </a:lnTo>
                  <a:lnTo>
                    <a:pt x="428" y="14"/>
                  </a:lnTo>
                  <a:lnTo>
                    <a:pt x="428" y="14"/>
                  </a:lnTo>
                  <a:lnTo>
                    <a:pt x="428" y="26"/>
                  </a:lnTo>
                  <a:lnTo>
                    <a:pt x="428" y="26"/>
                  </a:lnTo>
                  <a:lnTo>
                    <a:pt x="428" y="37"/>
                  </a:lnTo>
                  <a:lnTo>
                    <a:pt x="428" y="37"/>
                  </a:lnTo>
                  <a:lnTo>
                    <a:pt x="428" y="42"/>
                  </a:lnTo>
                  <a:lnTo>
                    <a:pt x="428" y="49"/>
                  </a:lnTo>
                  <a:lnTo>
                    <a:pt x="428" y="49"/>
                  </a:lnTo>
                  <a:lnTo>
                    <a:pt x="421" y="49"/>
                  </a:lnTo>
                  <a:lnTo>
                    <a:pt x="417" y="49"/>
                  </a:lnTo>
                  <a:lnTo>
                    <a:pt x="417" y="49"/>
                  </a:lnTo>
                  <a:lnTo>
                    <a:pt x="417" y="54"/>
                  </a:lnTo>
                  <a:lnTo>
                    <a:pt x="417" y="61"/>
                  </a:lnTo>
                  <a:lnTo>
                    <a:pt x="417" y="61"/>
                  </a:lnTo>
                  <a:lnTo>
                    <a:pt x="417" y="66"/>
                  </a:lnTo>
                  <a:lnTo>
                    <a:pt x="417" y="73"/>
                  </a:lnTo>
                  <a:lnTo>
                    <a:pt x="417" y="73"/>
                  </a:lnTo>
                  <a:lnTo>
                    <a:pt x="410" y="73"/>
                  </a:lnTo>
                  <a:lnTo>
                    <a:pt x="405" y="73"/>
                  </a:lnTo>
                  <a:lnTo>
                    <a:pt x="405" y="73"/>
                  </a:lnTo>
                  <a:lnTo>
                    <a:pt x="405" y="75"/>
                  </a:lnTo>
                  <a:lnTo>
                    <a:pt x="405" y="78"/>
                  </a:lnTo>
                  <a:lnTo>
                    <a:pt x="405" y="85"/>
                  </a:lnTo>
                  <a:lnTo>
                    <a:pt x="405" y="85"/>
                  </a:lnTo>
                  <a:lnTo>
                    <a:pt x="405" y="108"/>
                  </a:lnTo>
                  <a:lnTo>
                    <a:pt x="405" y="108"/>
                  </a:lnTo>
                  <a:lnTo>
                    <a:pt x="393" y="108"/>
                  </a:lnTo>
                  <a:lnTo>
                    <a:pt x="393" y="108"/>
                  </a:lnTo>
                  <a:lnTo>
                    <a:pt x="370" y="108"/>
                  </a:lnTo>
                  <a:lnTo>
                    <a:pt x="370" y="108"/>
                  </a:lnTo>
                  <a:lnTo>
                    <a:pt x="370" y="155"/>
                  </a:lnTo>
                  <a:lnTo>
                    <a:pt x="370" y="155"/>
                  </a:lnTo>
                  <a:lnTo>
                    <a:pt x="370" y="179"/>
                  </a:lnTo>
                  <a:lnTo>
                    <a:pt x="370" y="179"/>
                  </a:lnTo>
                  <a:lnTo>
                    <a:pt x="370" y="191"/>
                  </a:lnTo>
                  <a:lnTo>
                    <a:pt x="370" y="191"/>
                  </a:lnTo>
                  <a:lnTo>
                    <a:pt x="370" y="198"/>
                  </a:lnTo>
                  <a:lnTo>
                    <a:pt x="370" y="202"/>
                  </a:lnTo>
                  <a:lnTo>
                    <a:pt x="370" y="202"/>
                  </a:lnTo>
                  <a:lnTo>
                    <a:pt x="362" y="205"/>
                  </a:lnTo>
                  <a:lnTo>
                    <a:pt x="358" y="202"/>
                  </a:lnTo>
                  <a:lnTo>
                    <a:pt x="358" y="202"/>
                  </a:lnTo>
                  <a:lnTo>
                    <a:pt x="358" y="252"/>
                  </a:lnTo>
                  <a:lnTo>
                    <a:pt x="358" y="252"/>
                  </a:lnTo>
                  <a:lnTo>
                    <a:pt x="351" y="252"/>
                  </a:lnTo>
                  <a:lnTo>
                    <a:pt x="346" y="252"/>
                  </a:lnTo>
                  <a:lnTo>
                    <a:pt x="346" y="252"/>
                  </a:lnTo>
                  <a:lnTo>
                    <a:pt x="344" y="245"/>
                  </a:lnTo>
                  <a:lnTo>
                    <a:pt x="346" y="240"/>
                  </a:lnTo>
                  <a:lnTo>
                    <a:pt x="346" y="240"/>
                  </a:lnTo>
                  <a:lnTo>
                    <a:pt x="346" y="228"/>
                  </a:lnTo>
                  <a:lnTo>
                    <a:pt x="346" y="228"/>
                  </a:lnTo>
                  <a:lnTo>
                    <a:pt x="346" y="202"/>
                  </a:lnTo>
                  <a:lnTo>
                    <a:pt x="346" y="202"/>
                  </a:lnTo>
                  <a:lnTo>
                    <a:pt x="346" y="179"/>
                  </a:lnTo>
                  <a:lnTo>
                    <a:pt x="346" y="179"/>
                  </a:lnTo>
                  <a:lnTo>
                    <a:pt x="322" y="179"/>
                  </a:lnTo>
                  <a:lnTo>
                    <a:pt x="322" y="179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4" y="181"/>
                  </a:lnTo>
                  <a:lnTo>
                    <a:pt x="296" y="179"/>
                  </a:lnTo>
                  <a:lnTo>
                    <a:pt x="296" y="179"/>
                  </a:lnTo>
                  <a:lnTo>
                    <a:pt x="296" y="174"/>
                  </a:lnTo>
                  <a:lnTo>
                    <a:pt x="296" y="167"/>
                  </a:lnTo>
                  <a:lnTo>
                    <a:pt x="296" y="167"/>
                  </a:lnTo>
                  <a:lnTo>
                    <a:pt x="296" y="144"/>
                  </a:lnTo>
                  <a:lnTo>
                    <a:pt x="296" y="144"/>
                  </a:lnTo>
                  <a:lnTo>
                    <a:pt x="273" y="144"/>
                  </a:lnTo>
                  <a:lnTo>
                    <a:pt x="273" y="144"/>
                  </a:lnTo>
                  <a:lnTo>
                    <a:pt x="249" y="144"/>
                  </a:lnTo>
                  <a:lnTo>
                    <a:pt x="249" y="144"/>
                  </a:lnTo>
                  <a:lnTo>
                    <a:pt x="238" y="144"/>
                  </a:lnTo>
                  <a:lnTo>
                    <a:pt x="238" y="144"/>
                  </a:lnTo>
                  <a:lnTo>
                    <a:pt x="214" y="144"/>
                  </a:lnTo>
                  <a:lnTo>
                    <a:pt x="214" y="144"/>
                  </a:lnTo>
                  <a:lnTo>
                    <a:pt x="214" y="155"/>
                  </a:lnTo>
                  <a:lnTo>
                    <a:pt x="214" y="155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02" y="179"/>
                  </a:lnTo>
                  <a:lnTo>
                    <a:pt x="202" y="179"/>
                  </a:lnTo>
                  <a:lnTo>
                    <a:pt x="179" y="179"/>
                  </a:lnTo>
                  <a:lnTo>
                    <a:pt x="179" y="179"/>
                  </a:lnTo>
                  <a:lnTo>
                    <a:pt x="179" y="191"/>
                  </a:lnTo>
                  <a:lnTo>
                    <a:pt x="179" y="191"/>
                  </a:lnTo>
                  <a:lnTo>
                    <a:pt x="179" y="217"/>
                  </a:lnTo>
                  <a:lnTo>
                    <a:pt x="179" y="217"/>
                  </a:lnTo>
                  <a:lnTo>
                    <a:pt x="179" y="240"/>
                  </a:lnTo>
                  <a:lnTo>
                    <a:pt x="179" y="240"/>
                  </a:lnTo>
                  <a:lnTo>
                    <a:pt x="172" y="240"/>
                  </a:lnTo>
                  <a:lnTo>
                    <a:pt x="169" y="238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2"/>
                  </a:lnTo>
                  <a:lnTo>
                    <a:pt x="167" y="245"/>
                  </a:lnTo>
                  <a:lnTo>
                    <a:pt x="167" y="250"/>
                  </a:lnTo>
                  <a:lnTo>
                    <a:pt x="167" y="252"/>
                  </a:lnTo>
                  <a:lnTo>
                    <a:pt x="167" y="252"/>
                  </a:lnTo>
                  <a:lnTo>
                    <a:pt x="165" y="252"/>
                  </a:lnTo>
                  <a:lnTo>
                    <a:pt x="160" y="252"/>
                  </a:lnTo>
                  <a:lnTo>
                    <a:pt x="155" y="252"/>
                  </a:lnTo>
                  <a:lnTo>
                    <a:pt x="155" y="252"/>
                  </a:lnTo>
                  <a:lnTo>
                    <a:pt x="155" y="264"/>
                  </a:lnTo>
                  <a:lnTo>
                    <a:pt x="155" y="264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48" y="275"/>
                  </a:lnTo>
                  <a:lnTo>
                    <a:pt x="143" y="275"/>
                  </a:lnTo>
                  <a:lnTo>
                    <a:pt x="143" y="275"/>
                  </a:lnTo>
                  <a:lnTo>
                    <a:pt x="143" y="280"/>
                  </a:lnTo>
                  <a:lnTo>
                    <a:pt x="143" y="287"/>
                  </a:lnTo>
                  <a:lnTo>
                    <a:pt x="143" y="287"/>
                  </a:lnTo>
                  <a:lnTo>
                    <a:pt x="143" y="299"/>
                  </a:lnTo>
                  <a:lnTo>
                    <a:pt x="143" y="299"/>
                  </a:lnTo>
                  <a:lnTo>
                    <a:pt x="143" y="323"/>
                  </a:lnTo>
                  <a:lnTo>
                    <a:pt x="143" y="323"/>
                  </a:lnTo>
                  <a:lnTo>
                    <a:pt x="143" y="334"/>
                  </a:lnTo>
                  <a:lnTo>
                    <a:pt x="143" y="334"/>
                  </a:lnTo>
                  <a:lnTo>
                    <a:pt x="143" y="358"/>
                  </a:lnTo>
                  <a:lnTo>
                    <a:pt x="143" y="358"/>
                  </a:lnTo>
                  <a:lnTo>
                    <a:pt x="136" y="358"/>
                  </a:lnTo>
                  <a:lnTo>
                    <a:pt x="132" y="358"/>
                  </a:lnTo>
                  <a:lnTo>
                    <a:pt x="132" y="358"/>
                  </a:lnTo>
                  <a:lnTo>
                    <a:pt x="124" y="358"/>
                  </a:lnTo>
                  <a:lnTo>
                    <a:pt x="120" y="358"/>
                  </a:lnTo>
                  <a:lnTo>
                    <a:pt x="120" y="358"/>
                  </a:lnTo>
                  <a:lnTo>
                    <a:pt x="120" y="353"/>
                  </a:lnTo>
                  <a:lnTo>
                    <a:pt x="120" y="346"/>
                  </a:lnTo>
                  <a:lnTo>
                    <a:pt x="120" y="346"/>
                  </a:lnTo>
                  <a:lnTo>
                    <a:pt x="120" y="341"/>
                  </a:lnTo>
                  <a:lnTo>
                    <a:pt x="120" y="334"/>
                  </a:lnTo>
                  <a:lnTo>
                    <a:pt x="120" y="334"/>
                  </a:lnTo>
                  <a:lnTo>
                    <a:pt x="120" y="327"/>
                  </a:lnTo>
                  <a:lnTo>
                    <a:pt x="120" y="323"/>
                  </a:lnTo>
                  <a:lnTo>
                    <a:pt x="120" y="323"/>
                  </a:lnTo>
                  <a:lnTo>
                    <a:pt x="117" y="323"/>
                  </a:lnTo>
                  <a:lnTo>
                    <a:pt x="113" y="323"/>
                  </a:lnTo>
                  <a:lnTo>
                    <a:pt x="108" y="323"/>
                  </a:lnTo>
                  <a:lnTo>
                    <a:pt x="108" y="323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11" y="299"/>
                  </a:lnTo>
                  <a:lnTo>
                    <a:pt x="11" y="299"/>
                  </a:lnTo>
                  <a:lnTo>
                    <a:pt x="0" y="299"/>
                  </a:lnTo>
                  <a:lnTo>
                    <a:pt x="0" y="561"/>
                  </a:lnTo>
                  <a:lnTo>
                    <a:pt x="0" y="561"/>
                  </a:lnTo>
                  <a:lnTo>
                    <a:pt x="11" y="561"/>
                  </a:lnTo>
                  <a:lnTo>
                    <a:pt x="11" y="561"/>
                  </a:lnTo>
                  <a:lnTo>
                    <a:pt x="35" y="561"/>
                  </a:lnTo>
                  <a:lnTo>
                    <a:pt x="35" y="561"/>
                  </a:lnTo>
                  <a:lnTo>
                    <a:pt x="47" y="561"/>
                  </a:lnTo>
                  <a:lnTo>
                    <a:pt x="47" y="561"/>
                  </a:lnTo>
                  <a:lnTo>
                    <a:pt x="70" y="561"/>
                  </a:lnTo>
                  <a:lnTo>
                    <a:pt x="70" y="561"/>
                  </a:lnTo>
                  <a:lnTo>
                    <a:pt x="84" y="561"/>
                  </a:lnTo>
                  <a:lnTo>
                    <a:pt x="84" y="561"/>
                  </a:lnTo>
                  <a:lnTo>
                    <a:pt x="108" y="561"/>
                  </a:lnTo>
                  <a:lnTo>
                    <a:pt x="108" y="561"/>
                  </a:lnTo>
                  <a:lnTo>
                    <a:pt x="120" y="561"/>
                  </a:lnTo>
                  <a:lnTo>
                    <a:pt x="120" y="561"/>
                  </a:lnTo>
                  <a:lnTo>
                    <a:pt x="143" y="561"/>
                  </a:lnTo>
                  <a:lnTo>
                    <a:pt x="143" y="561"/>
                  </a:lnTo>
                  <a:lnTo>
                    <a:pt x="155" y="561"/>
                  </a:lnTo>
                  <a:lnTo>
                    <a:pt x="155" y="561"/>
                  </a:lnTo>
                  <a:lnTo>
                    <a:pt x="179" y="561"/>
                  </a:lnTo>
                  <a:lnTo>
                    <a:pt x="179" y="561"/>
                  </a:lnTo>
                  <a:lnTo>
                    <a:pt x="190" y="561"/>
                  </a:lnTo>
                  <a:lnTo>
                    <a:pt x="190" y="561"/>
                  </a:lnTo>
                  <a:lnTo>
                    <a:pt x="214" y="561"/>
                  </a:lnTo>
                  <a:lnTo>
                    <a:pt x="214" y="561"/>
                  </a:lnTo>
                  <a:lnTo>
                    <a:pt x="226" y="561"/>
                  </a:lnTo>
                  <a:lnTo>
                    <a:pt x="226" y="561"/>
                  </a:lnTo>
                  <a:lnTo>
                    <a:pt x="273" y="561"/>
                  </a:lnTo>
                  <a:lnTo>
                    <a:pt x="273" y="561"/>
                  </a:lnTo>
                  <a:lnTo>
                    <a:pt x="285" y="561"/>
                  </a:lnTo>
                  <a:lnTo>
                    <a:pt x="285" y="561"/>
                  </a:lnTo>
                  <a:lnTo>
                    <a:pt x="308" y="561"/>
                  </a:lnTo>
                  <a:lnTo>
                    <a:pt x="308" y="561"/>
                  </a:lnTo>
                  <a:lnTo>
                    <a:pt x="322" y="561"/>
                  </a:lnTo>
                  <a:lnTo>
                    <a:pt x="322" y="561"/>
                  </a:lnTo>
                  <a:lnTo>
                    <a:pt x="346" y="561"/>
                  </a:lnTo>
                  <a:lnTo>
                    <a:pt x="346" y="561"/>
                  </a:lnTo>
                  <a:lnTo>
                    <a:pt x="358" y="561"/>
                  </a:lnTo>
                  <a:lnTo>
                    <a:pt x="358" y="561"/>
                  </a:lnTo>
                  <a:lnTo>
                    <a:pt x="381" y="561"/>
                  </a:lnTo>
                  <a:lnTo>
                    <a:pt x="381" y="561"/>
                  </a:lnTo>
                  <a:lnTo>
                    <a:pt x="393" y="561"/>
                  </a:lnTo>
                  <a:lnTo>
                    <a:pt x="393" y="561"/>
                  </a:lnTo>
                  <a:lnTo>
                    <a:pt x="417" y="561"/>
                  </a:lnTo>
                  <a:lnTo>
                    <a:pt x="417" y="561"/>
                  </a:lnTo>
                  <a:lnTo>
                    <a:pt x="428" y="561"/>
                  </a:lnTo>
                  <a:lnTo>
                    <a:pt x="428" y="561"/>
                  </a:lnTo>
                  <a:lnTo>
                    <a:pt x="452" y="561"/>
                  </a:lnTo>
                  <a:lnTo>
                    <a:pt x="452" y="561"/>
                  </a:lnTo>
                  <a:lnTo>
                    <a:pt x="464" y="561"/>
                  </a:lnTo>
                  <a:lnTo>
                    <a:pt x="464" y="561"/>
                  </a:lnTo>
                  <a:lnTo>
                    <a:pt x="487" y="561"/>
                  </a:lnTo>
                  <a:lnTo>
                    <a:pt x="487" y="561"/>
                  </a:lnTo>
                  <a:lnTo>
                    <a:pt x="499" y="561"/>
                  </a:lnTo>
                  <a:lnTo>
                    <a:pt x="499" y="561"/>
                  </a:lnTo>
                  <a:lnTo>
                    <a:pt x="546" y="561"/>
                  </a:lnTo>
                  <a:lnTo>
                    <a:pt x="546" y="561"/>
                  </a:lnTo>
                  <a:lnTo>
                    <a:pt x="558" y="561"/>
                  </a:lnTo>
                  <a:lnTo>
                    <a:pt x="558" y="561"/>
                  </a:lnTo>
                  <a:lnTo>
                    <a:pt x="584" y="561"/>
                  </a:lnTo>
                  <a:lnTo>
                    <a:pt x="584" y="561"/>
                  </a:lnTo>
                  <a:lnTo>
                    <a:pt x="596" y="561"/>
                  </a:lnTo>
                  <a:lnTo>
                    <a:pt x="596" y="561"/>
                  </a:lnTo>
                  <a:lnTo>
                    <a:pt x="619" y="561"/>
                  </a:lnTo>
                  <a:lnTo>
                    <a:pt x="619" y="561"/>
                  </a:lnTo>
                  <a:lnTo>
                    <a:pt x="631" y="561"/>
                  </a:lnTo>
                  <a:lnTo>
                    <a:pt x="631" y="561"/>
                  </a:lnTo>
                  <a:lnTo>
                    <a:pt x="655" y="561"/>
                  </a:lnTo>
                  <a:lnTo>
                    <a:pt x="655" y="561"/>
                  </a:lnTo>
                  <a:lnTo>
                    <a:pt x="666" y="561"/>
                  </a:lnTo>
                  <a:lnTo>
                    <a:pt x="666" y="561"/>
                  </a:lnTo>
                  <a:lnTo>
                    <a:pt x="690" y="561"/>
                  </a:lnTo>
                  <a:lnTo>
                    <a:pt x="690" y="561"/>
                  </a:lnTo>
                  <a:lnTo>
                    <a:pt x="702" y="561"/>
                  </a:lnTo>
                  <a:lnTo>
                    <a:pt x="702" y="561"/>
                  </a:lnTo>
                  <a:lnTo>
                    <a:pt x="725" y="561"/>
                  </a:lnTo>
                  <a:lnTo>
                    <a:pt x="725" y="561"/>
                  </a:lnTo>
                  <a:lnTo>
                    <a:pt x="737" y="561"/>
                  </a:lnTo>
                  <a:lnTo>
                    <a:pt x="737" y="561"/>
                  </a:lnTo>
                  <a:lnTo>
                    <a:pt x="761" y="561"/>
                  </a:lnTo>
                  <a:lnTo>
                    <a:pt x="761" y="561"/>
                  </a:lnTo>
                  <a:lnTo>
                    <a:pt x="772" y="561"/>
                  </a:lnTo>
                  <a:lnTo>
                    <a:pt x="772" y="561"/>
                  </a:lnTo>
                  <a:lnTo>
                    <a:pt x="796" y="561"/>
                  </a:lnTo>
                  <a:lnTo>
                    <a:pt x="796" y="561"/>
                  </a:lnTo>
                  <a:lnTo>
                    <a:pt x="810" y="561"/>
                  </a:lnTo>
                  <a:lnTo>
                    <a:pt x="810" y="561"/>
                  </a:lnTo>
                  <a:lnTo>
                    <a:pt x="834" y="561"/>
                  </a:lnTo>
                  <a:lnTo>
                    <a:pt x="834" y="561"/>
                  </a:lnTo>
                  <a:lnTo>
                    <a:pt x="845" y="561"/>
                  </a:lnTo>
                  <a:lnTo>
                    <a:pt x="845" y="561"/>
                  </a:lnTo>
                  <a:lnTo>
                    <a:pt x="869" y="561"/>
                  </a:lnTo>
                  <a:lnTo>
                    <a:pt x="869" y="561"/>
                  </a:lnTo>
                  <a:lnTo>
                    <a:pt x="881" y="561"/>
                  </a:lnTo>
                  <a:lnTo>
                    <a:pt x="881" y="561"/>
                  </a:lnTo>
                  <a:lnTo>
                    <a:pt x="904" y="561"/>
                  </a:lnTo>
                  <a:lnTo>
                    <a:pt x="904" y="561"/>
                  </a:lnTo>
                  <a:lnTo>
                    <a:pt x="916" y="561"/>
                  </a:lnTo>
                  <a:lnTo>
                    <a:pt x="916" y="561"/>
                  </a:lnTo>
                  <a:lnTo>
                    <a:pt x="940" y="561"/>
                  </a:lnTo>
                  <a:lnTo>
                    <a:pt x="940" y="561"/>
                  </a:lnTo>
                  <a:lnTo>
                    <a:pt x="951" y="561"/>
                  </a:lnTo>
                  <a:lnTo>
                    <a:pt x="951" y="561"/>
                  </a:lnTo>
                  <a:lnTo>
                    <a:pt x="975" y="561"/>
                  </a:lnTo>
                  <a:lnTo>
                    <a:pt x="975" y="561"/>
                  </a:lnTo>
                  <a:lnTo>
                    <a:pt x="987" y="561"/>
                  </a:lnTo>
                  <a:lnTo>
                    <a:pt x="987" y="561"/>
                  </a:lnTo>
                  <a:lnTo>
                    <a:pt x="1010" y="561"/>
                  </a:lnTo>
                  <a:lnTo>
                    <a:pt x="1010" y="561"/>
                  </a:lnTo>
                  <a:lnTo>
                    <a:pt x="1022" y="561"/>
                  </a:lnTo>
                  <a:lnTo>
                    <a:pt x="1022" y="561"/>
                  </a:lnTo>
                  <a:lnTo>
                    <a:pt x="1046" y="561"/>
                  </a:lnTo>
                  <a:lnTo>
                    <a:pt x="1046" y="561"/>
                  </a:lnTo>
                  <a:lnTo>
                    <a:pt x="1060" y="561"/>
                  </a:lnTo>
                  <a:lnTo>
                    <a:pt x="1060" y="561"/>
                  </a:lnTo>
                  <a:lnTo>
                    <a:pt x="1107" y="561"/>
                  </a:lnTo>
                  <a:lnTo>
                    <a:pt x="1107" y="561"/>
                  </a:lnTo>
                  <a:lnTo>
                    <a:pt x="1119" y="561"/>
                  </a:lnTo>
                  <a:lnTo>
                    <a:pt x="1119" y="561"/>
                  </a:lnTo>
                  <a:lnTo>
                    <a:pt x="1142" y="561"/>
                  </a:lnTo>
                  <a:lnTo>
                    <a:pt x="1142" y="561"/>
                  </a:lnTo>
                  <a:lnTo>
                    <a:pt x="1154" y="561"/>
                  </a:lnTo>
                  <a:lnTo>
                    <a:pt x="1154" y="561"/>
                  </a:lnTo>
                  <a:lnTo>
                    <a:pt x="1178" y="561"/>
                  </a:lnTo>
                  <a:lnTo>
                    <a:pt x="1178" y="561"/>
                  </a:lnTo>
                  <a:lnTo>
                    <a:pt x="1189" y="561"/>
                  </a:lnTo>
                  <a:lnTo>
                    <a:pt x="1189" y="561"/>
                  </a:lnTo>
                  <a:lnTo>
                    <a:pt x="1213" y="561"/>
                  </a:lnTo>
                  <a:lnTo>
                    <a:pt x="1213" y="561"/>
                  </a:lnTo>
                  <a:lnTo>
                    <a:pt x="1225" y="561"/>
                  </a:lnTo>
                  <a:lnTo>
                    <a:pt x="1225" y="561"/>
                  </a:lnTo>
                  <a:lnTo>
                    <a:pt x="1248" y="561"/>
                  </a:lnTo>
                  <a:lnTo>
                    <a:pt x="1248" y="561"/>
                  </a:lnTo>
                  <a:lnTo>
                    <a:pt x="1260" y="561"/>
                  </a:lnTo>
                  <a:lnTo>
                    <a:pt x="1260" y="561"/>
                  </a:lnTo>
                  <a:lnTo>
                    <a:pt x="1284" y="561"/>
                  </a:lnTo>
                  <a:lnTo>
                    <a:pt x="1284" y="561"/>
                  </a:lnTo>
                  <a:lnTo>
                    <a:pt x="1298" y="561"/>
                  </a:lnTo>
                  <a:lnTo>
                    <a:pt x="1298" y="561"/>
                  </a:lnTo>
                  <a:lnTo>
                    <a:pt x="1321" y="561"/>
                  </a:lnTo>
                  <a:lnTo>
                    <a:pt x="1321" y="561"/>
                  </a:lnTo>
                  <a:lnTo>
                    <a:pt x="1333" y="561"/>
                  </a:lnTo>
                  <a:lnTo>
                    <a:pt x="1333" y="561"/>
                  </a:lnTo>
                  <a:lnTo>
                    <a:pt x="1380" y="561"/>
                  </a:lnTo>
                  <a:lnTo>
                    <a:pt x="1380" y="561"/>
                  </a:lnTo>
                  <a:lnTo>
                    <a:pt x="1392" y="561"/>
                  </a:lnTo>
                  <a:lnTo>
                    <a:pt x="1392" y="561"/>
                  </a:lnTo>
                  <a:lnTo>
                    <a:pt x="1416" y="561"/>
                  </a:lnTo>
                  <a:lnTo>
                    <a:pt x="1416" y="561"/>
                  </a:lnTo>
                  <a:lnTo>
                    <a:pt x="1427" y="561"/>
                  </a:lnTo>
                  <a:lnTo>
                    <a:pt x="1427" y="561"/>
                  </a:lnTo>
                  <a:lnTo>
                    <a:pt x="1451" y="561"/>
                  </a:lnTo>
                  <a:lnTo>
                    <a:pt x="1451" y="561"/>
                  </a:lnTo>
                  <a:lnTo>
                    <a:pt x="1463" y="561"/>
                  </a:lnTo>
                  <a:lnTo>
                    <a:pt x="1463" y="561"/>
                  </a:lnTo>
                  <a:lnTo>
                    <a:pt x="1486" y="561"/>
                  </a:lnTo>
                  <a:lnTo>
                    <a:pt x="1486" y="561"/>
                  </a:lnTo>
                  <a:lnTo>
                    <a:pt x="1498" y="561"/>
                  </a:lnTo>
                  <a:lnTo>
                    <a:pt x="1498" y="561"/>
                  </a:lnTo>
                  <a:lnTo>
                    <a:pt x="1522" y="561"/>
                  </a:lnTo>
                  <a:lnTo>
                    <a:pt x="1522" y="561"/>
                  </a:lnTo>
                  <a:lnTo>
                    <a:pt x="1533" y="561"/>
                  </a:lnTo>
                  <a:lnTo>
                    <a:pt x="1533" y="561"/>
                  </a:lnTo>
                  <a:lnTo>
                    <a:pt x="1559" y="561"/>
                  </a:lnTo>
                  <a:lnTo>
                    <a:pt x="1559" y="561"/>
                  </a:lnTo>
                  <a:lnTo>
                    <a:pt x="1571" y="561"/>
                  </a:lnTo>
                  <a:lnTo>
                    <a:pt x="1571" y="561"/>
                  </a:lnTo>
                  <a:lnTo>
                    <a:pt x="1595" y="561"/>
                  </a:lnTo>
                  <a:lnTo>
                    <a:pt x="1595" y="561"/>
                  </a:lnTo>
                  <a:lnTo>
                    <a:pt x="1607" y="561"/>
                  </a:lnTo>
                  <a:lnTo>
                    <a:pt x="1607" y="561"/>
                  </a:lnTo>
                  <a:lnTo>
                    <a:pt x="1654" y="561"/>
                  </a:lnTo>
                  <a:lnTo>
                    <a:pt x="1654" y="561"/>
                  </a:lnTo>
                  <a:lnTo>
                    <a:pt x="1665" y="561"/>
                  </a:lnTo>
                  <a:lnTo>
                    <a:pt x="1665" y="561"/>
                  </a:lnTo>
                  <a:lnTo>
                    <a:pt x="1689" y="561"/>
                  </a:lnTo>
                  <a:lnTo>
                    <a:pt x="1689" y="561"/>
                  </a:lnTo>
                  <a:lnTo>
                    <a:pt x="1701" y="561"/>
                  </a:lnTo>
                  <a:lnTo>
                    <a:pt x="1701" y="561"/>
                  </a:lnTo>
                  <a:lnTo>
                    <a:pt x="1724" y="561"/>
                  </a:lnTo>
                  <a:lnTo>
                    <a:pt x="1724" y="561"/>
                  </a:lnTo>
                  <a:lnTo>
                    <a:pt x="1736" y="561"/>
                  </a:lnTo>
                  <a:lnTo>
                    <a:pt x="1736" y="561"/>
                  </a:lnTo>
                  <a:lnTo>
                    <a:pt x="1760" y="561"/>
                  </a:lnTo>
                  <a:lnTo>
                    <a:pt x="1760" y="561"/>
                  </a:lnTo>
                  <a:lnTo>
                    <a:pt x="1809" y="561"/>
                  </a:lnTo>
                  <a:lnTo>
                    <a:pt x="1809" y="561"/>
                  </a:lnTo>
                  <a:lnTo>
                    <a:pt x="1833" y="561"/>
                  </a:lnTo>
                  <a:lnTo>
                    <a:pt x="1833" y="561"/>
                  </a:lnTo>
                  <a:lnTo>
                    <a:pt x="1844" y="561"/>
                  </a:lnTo>
                  <a:lnTo>
                    <a:pt x="1844" y="561"/>
                  </a:lnTo>
                  <a:lnTo>
                    <a:pt x="1868" y="561"/>
                  </a:lnTo>
                  <a:lnTo>
                    <a:pt x="1868" y="561"/>
                  </a:lnTo>
                  <a:lnTo>
                    <a:pt x="1880" y="561"/>
                  </a:lnTo>
                  <a:lnTo>
                    <a:pt x="1880" y="561"/>
                  </a:lnTo>
                  <a:lnTo>
                    <a:pt x="1903" y="561"/>
                  </a:lnTo>
                  <a:lnTo>
                    <a:pt x="1903" y="561"/>
                  </a:lnTo>
                  <a:lnTo>
                    <a:pt x="1915" y="561"/>
                  </a:lnTo>
                  <a:lnTo>
                    <a:pt x="1915" y="561"/>
                  </a:lnTo>
                  <a:lnTo>
                    <a:pt x="1939" y="561"/>
                  </a:lnTo>
                  <a:lnTo>
                    <a:pt x="1939" y="561"/>
                  </a:lnTo>
                  <a:lnTo>
                    <a:pt x="1951" y="561"/>
                  </a:lnTo>
                  <a:lnTo>
                    <a:pt x="1951" y="561"/>
                  </a:lnTo>
                  <a:lnTo>
                    <a:pt x="1974" y="561"/>
                  </a:lnTo>
                  <a:lnTo>
                    <a:pt x="1974" y="561"/>
                  </a:lnTo>
                  <a:lnTo>
                    <a:pt x="1986" y="561"/>
                  </a:lnTo>
                  <a:lnTo>
                    <a:pt x="1986" y="561"/>
                  </a:lnTo>
                  <a:lnTo>
                    <a:pt x="2009" y="561"/>
                  </a:lnTo>
                  <a:lnTo>
                    <a:pt x="2009" y="561"/>
                  </a:lnTo>
                  <a:lnTo>
                    <a:pt x="2021" y="561"/>
                  </a:lnTo>
                  <a:lnTo>
                    <a:pt x="2021" y="561"/>
                  </a:lnTo>
                  <a:lnTo>
                    <a:pt x="2047" y="561"/>
                  </a:lnTo>
                  <a:lnTo>
                    <a:pt x="2047" y="561"/>
                  </a:lnTo>
                  <a:lnTo>
                    <a:pt x="2059" y="561"/>
                  </a:lnTo>
                  <a:lnTo>
                    <a:pt x="2059" y="561"/>
                  </a:lnTo>
                  <a:lnTo>
                    <a:pt x="2082" y="561"/>
                  </a:lnTo>
                  <a:lnTo>
                    <a:pt x="2082" y="561"/>
                  </a:lnTo>
                  <a:lnTo>
                    <a:pt x="2130" y="561"/>
                  </a:lnTo>
                  <a:lnTo>
                    <a:pt x="2130" y="561"/>
                  </a:lnTo>
                  <a:lnTo>
                    <a:pt x="2153" y="561"/>
                  </a:lnTo>
                  <a:lnTo>
                    <a:pt x="2153" y="561"/>
                  </a:lnTo>
                  <a:lnTo>
                    <a:pt x="2165" y="561"/>
                  </a:lnTo>
                  <a:lnTo>
                    <a:pt x="2165" y="561"/>
                  </a:lnTo>
                  <a:lnTo>
                    <a:pt x="2188" y="561"/>
                  </a:lnTo>
                  <a:lnTo>
                    <a:pt x="2188" y="561"/>
                  </a:lnTo>
                  <a:lnTo>
                    <a:pt x="2212" y="561"/>
                  </a:lnTo>
                  <a:lnTo>
                    <a:pt x="2212" y="561"/>
                  </a:lnTo>
                  <a:lnTo>
                    <a:pt x="2224" y="561"/>
                  </a:lnTo>
                  <a:lnTo>
                    <a:pt x="2224" y="561"/>
                  </a:lnTo>
                  <a:lnTo>
                    <a:pt x="2247" y="561"/>
                  </a:lnTo>
                  <a:lnTo>
                    <a:pt x="2247" y="561"/>
                  </a:lnTo>
                  <a:lnTo>
                    <a:pt x="2297" y="561"/>
                  </a:lnTo>
                  <a:lnTo>
                    <a:pt x="2297" y="561"/>
                  </a:lnTo>
                  <a:lnTo>
                    <a:pt x="2309" y="561"/>
                  </a:lnTo>
                  <a:lnTo>
                    <a:pt x="2309" y="561"/>
                  </a:lnTo>
                  <a:lnTo>
                    <a:pt x="2320" y="561"/>
                  </a:lnTo>
                  <a:lnTo>
                    <a:pt x="2320" y="561"/>
                  </a:lnTo>
                  <a:lnTo>
                    <a:pt x="2325" y="561"/>
                  </a:lnTo>
                  <a:lnTo>
                    <a:pt x="2332" y="561"/>
                  </a:lnTo>
                  <a:lnTo>
                    <a:pt x="2332" y="561"/>
                  </a:lnTo>
                  <a:lnTo>
                    <a:pt x="2332" y="558"/>
                  </a:lnTo>
                  <a:lnTo>
                    <a:pt x="2332" y="554"/>
                  </a:lnTo>
                  <a:lnTo>
                    <a:pt x="2332" y="549"/>
                  </a:lnTo>
                  <a:lnTo>
                    <a:pt x="2332" y="549"/>
                  </a:lnTo>
                  <a:close/>
                </a:path>
              </a:pathLst>
            </a:custGeom>
            <a:solidFill>
              <a:schemeClr val="accent1">
                <a:alpha val="76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72"/>
            <p:cNvSpPr>
              <a:spLocks/>
            </p:cNvSpPr>
            <p:nvPr/>
          </p:nvSpPr>
          <p:spPr bwMode="auto">
            <a:xfrm>
              <a:off x="685800" y="3138663"/>
              <a:ext cx="3962400" cy="546100"/>
            </a:xfrm>
            <a:custGeom>
              <a:avLst/>
              <a:gdLst>
                <a:gd name="T0" fmla="*/ 2330 w 2366"/>
                <a:gd name="T1" fmla="*/ 106 h 344"/>
                <a:gd name="T2" fmla="*/ 2283 w 2366"/>
                <a:gd name="T3" fmla="*/ 58 h 344"/>
                <a:gd name="T4" fmla="*/ 2271 w 2366"/>
                <a:gd name="T5" fmla="*/ 11 h 344"/>
                <a:gd name="T6" fmla="*/ 2236 w 2366"/>
                <a:gd name="T7" fmla="*/ 23 h 344"/>
                <a:gd name="T8" fmla="*/ 2175 w 2366"/>
                <a:gd name="T9" fmla="*/ 58 h 344"/>
                <a:gd name="T10" fmla="*/ 2128 w 2366"/>
                <a:gd name="T11" fmla="*/ 188 h 344"/>
                <a:gd name="T12" fmla="*/ 2081 w 2366"/>
                <a:gd name="T13" fmla="*/ 165 h 344"/>
                <a:gd name="T14" fmla="*/ 2026 w 2366"/>
                <a:gd name="T15" fmla="*/ 188 h 344"/>
                <a:gd name="T16" fmla="*/ 1974 w 2366"/>
                <a:gd name="T17" fmla="*/ 188 h 344"/>
                <a:gd name="T18" fmla="*/ 1913 w 2366"/>
                <a:gd name="T19" fmla="*/ 200 h 344"/>
                <a:gd name="T20" fmla="*/ 1838 w 2366"/>
                <a:gd name="T21" fmla="*/ 153 h 344"/>
                <a:gd name="T22" fmla="*/ 1748 w 2366"/>
                <a:gd name="T23" fmla="*/ 129 h 344"/>
                <a:gd name="T24" fmla="*/ 1713 w 2366"/>
                <a:gd name="T25" fmla="*/ 141 h 344"/>
                <a:gd name="T26" fmla="*/ 1671 w 2366"/>
                <a:gd name="T27" fmla="*/ 82 h 344"/>
                <a:gd name="T28" fmla="*/ 1616 w 2366"/>
                <a:gd name="T29" fmla="*/ 106 h 344"/>
                <a:gd name="T30" fmla="*/ 1581 w 2366"/>
                <a:gd name="T31" fmla="*/ 108 h 344"/>
                <a:gd name="T32" fmla="*/ 1569 w 2366"/>
                <a:gd name="T33" fmla="*/ 165 h 344"/>
                <a:gd name="T34" fmla="*/ 1546 w 2366"/>
                <a:gd name="T35" fmla="*/ 160 h 344"/>
                <a:gd name="T36" fmla="*/ 1522 w 2366"/>
                <a:gd name="T37" fmla="*/ 117 h 344"/>
                <a:gd name="T38" fmla="*/ 1487 w 2366"/>
                <a:gd name="T39" fmla="*/ 63 h 344"/>
                <a:gd name="T40" fmla="*/ 1402 w 2366"/>
                <a:gd name="T41" fmla="*/ 47 h 344"/>
                <a:gd name="T42" fmla="*/ 1261 w 2366"/>
                <a:gd name="T43" fmla="*/ 188 h 344"/>
                <a:gd name="T44" fmla="*/ 1237 w 2366"/>
                <a:gd name="T45" fmla="*/ 249 h 344"/>
                <a:gd name="T46" fmla="*/ 1188 w 2366"/>
                <a:gd name="T47" fmla="*/ 249 h 344"/>
                <a:gd name="T48" fmla="*/ 1152 w 2366"/>
                <a:gd name="T49" fmla="*/ 235 h 344"/>
                <a:gd name="T50" fmla="*/ 1117 w 2366"/>
                <a:gd name="T51" fmla="*/ 261 h 344"/>
                <a:gd name="T52" fmla="*/ 1074 w 2366"/>
                <a:gd name="T53" fmla="*/ 285 h 344"/>
                <a:gd name="T54" fmla="*/ 961 w 2366"/>
                <a:gd name="T55" fmla="*/ 200 h 344"/>
                <a:gd name="T56" fmla="*/ 968 w 2366"/>
                <a:gd name="T57" fmla="*/ 285 h 344"/>
                <a:gd name="T58" fmla="*/ 902 w 2366"/>
                <a:gd name="T59" fmla="*/ 273 h 344"/>
                <a:gd name="T60" fmla="*/ 867 w 2366"/>
                <a:gd name="T61" fmla="*/ 261 h 344"/>
                <a:gd name="T62" fmla="*/ 832 w 2366"/>
                <a:gd name="T63" fmla="*/ 285 h 344"/>
                <a:gd name="T64" fmla="*/ 737 w 2366"/>
                <a:gd name="T65" fmla="*/ 235 h 344"/>
                <a:gd name="T66" fmla="*/ 653 w 2366"/>
                <a:gd name="T67" fmla="*/ 174 h 344"/>
                <a:gd name="T68" fmla="*/ 641 w 2366"/>
                <a:gd name="T69" fmla="*/ 261 h 344"/>
                <a:gd name="T70" fmla="*/ 558 w 2366"/>
                <a:gd name="T71" fmla="*/ 261 h 344"/>
                <a:gd name="T72" fmla="*/ 535 w 2366"/>
                <a:gd name="T73" fmla="*/ 261 h 344"/>
                <a:gd name="T74" fmla="*/ 481 w 2366"/>
                <a:gd name="T75" fmla="*/ 247 h 344"/>
                <a:gd name="T76" fmla="*/ 464 w 2366"/>
                <a:gd name="T77" fmla="*/ 242 h 344"/>
                <a:gd name="T78" fmla="*/ 426 w 2366"/>
                <a:gd name="T79" fmla="*/ 188 h 344"/>
                <a:gd name="T80" fmla="*/ 403 w 2366"/>
                <a:gd name="T81" fmla="*/ 129 h 344"/>
                <a:gd name="T82" fmla="*/ 379 w 2366"/>
                <a:gd name="T83" fmla="*/ 200 h 344"/>
                <a:gd name="T84" fmla="*/ 344 w 2366"/>
                <a:gd name="T85" fmla="*/ 261 h 344"/>
                <a:gd name="T86" fmla="*/ 297 w 2366"/>
                <a:gd name="T87" fmla="*/ 261 h 344"/>
                <a:gd name="T88" fmla="*/ 262 w 2366"/>
                <a:gd name="T89" fmla="*/ 266 h 344"/>
                <a:gd name="T90" fmla="*/ 196 w 2366"/>
                <a:gd name="T91" fmla="*/ 259 h 344"/>
                <a:gd name="T92" fmla="*/ 106 w 2366"/>
                <a:gd name="T93" fmla="*/ 249 h 344"/>
                <a:gd name="T94" fmla="*/ 64 w 2366"/>
                <a:gd name="T95" fmla="*/ 247 h 344"/>
                <a:gd name="T96" fmla="*/ 0 w 2366"/>
                <a:gd name="T97" fmla="*/ 320 h 344"/>
                <a:gd name="T98" fmla="*/ 177 w 2366"/>
                <a:gd name="T99" fmla="*/ 344 h 344"/>
                <a:gd name="T100" fmla="*/ 344 w 2366"/>
                <a:gd name="T101" fmla="*/ 344 h 344"/>
                <a:gd name="T102" fmla="*/ 558 w 2366"/>
                <a:gd name="T103" fmla="*/ 344 h 344"/>
                <a:gd name="T104" fmla="*/ 749 w 2366"/>
                <a:gd name="T105" fmla="*/ 344 h 344"/>
                <a:gd name="T106" fmla="*/ 902 w 2366"/>
                <a:gd name="T107" fmla="*/ 344 h 344"/>
                <a:gd name="T108" fmla="*/ 1093 w 2366"/>
                <a:gd name="T109" fmla="*/ 344 h 344"/>
                <a:gd name="T110" fmla="*/ 1272 w 2366"/>
                <a:gd name="T111" fmla="*/ 344 h 344"/>
                <a:gd name="T112" fmla="*/ 1437 w 2366"/>
                <a:gd name="T113" fmla="*/ 344 h 344"/>
                <a:gd name="T114" fmla="*/ 1616 w 2366"/>
                <a:gd name="T115" fmla="*/ 344 h 344"/>
                <a:gd name="T116" fmla="*/ 1807 w 2366"/>
                <a:gd name="T117" fmla="*/ 344 h 344"/>
                <a:gd name="T118" fmla="*/ 1998 w 2366"/>
                <a:gd name="T119" fmla="*/ 344 h 344"/>
                <a:gd name="T120" fmla="*/ 2163 w 2366"/>
                <a:gd name="T121" fmla="*/ 34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66" h="344">
                  <a:moveTo>
                    <a:pt x="2366" y="82"/>
                  </a:moveTo>
                  <a:lnTo>
                    <a:pt x="2366" y="82"/>
                  </a:lnTo>
                  <a:lnTo>
                    <a:pt x="2366" y="82"/>
                  </a:lnTo>
                  <a:lnTo>
                    <a:pt x="2361" y="82"/>
                  </a:lnTo>
                  <a:lnTo>
                    <a:pt x="2354" y="82"/>
                  </a:lnTo>
                  <a:lnTo>
                    <a:pt x="2354" y="82"/>
                  </a:lnTo>
                  <a:lnTo>
                    <a:pt x="2354" y="87"/>
                  </a:lnTo>
                  <a:lnTo>
                    <a:pt x="2354" y="94"/>
                  </a:lnTo>
                  <a:lnTo>
                    <a:pt x="2354" y="94"/>
                  </a:lnTo>
                  <a:lnTo>
                    <a:pt x="2349" y="94"/>
                  </a:lnTo>
                  <a:lnTo>
                    <a:pt x="2342" y="94"/>
                  </a:lnTo>
                  <a:lnTo>
                    <a:pt x="2342" y="94"/>
                  </a:lnTo>
                  <a:lnTo>
                    <a:pt x="2337" y="94"/>
                  </a:lnTo>
                  <a:lnTo>
                    <a:pt x="2330" y="94"/>
                  </a:lnTo>
                  <a:lnTo>
                    <a:pt x="2330" y="94"/>
                  </a:lnTo>
                  <a:lnTo>
                    <a:pt x="2330" y="99"/>
                  </a:lnTo>
                  <a:lnTo>
                    <a:pt x="2330" y="106"/>
                  </a:lnTo>
                  <a:lnTo>
                    <a:pt x="2330" y="106"/>
                  </a:lnTo>
                  <a:lnTo>
                    <a:pt x="2328" y="106"/>
                  </a:lnTo>
                  <a:lnTo>
                    <a:pt x="2326" y="106"/>
                  </a:lnTo>
                  <a:lnTo>
                    <a:pt x="2318" y="106"/>
                  </a:lnTo>
                  <a:lnTo>
                    <a:pt x="2318" y="106"/>
                  </a:lnTo>
                  <a:lnTo>
                    <a:pt x="2318" y="94"/>
                  </a:lnTo>
                  <a:lnTo>
                    <a:pt x="2318" y="94"/>
                  </a:lnTo>
                  <a:lnTo>
                    <a:pt x="2318" y="82"/>
                  </a:lnTo>
                  <a:lnTo>
                    <a:pt x="2318" y="82"/>
                  </a:lnTo>
                  <a:lnTo>
                    <a:pt x="2318" y="75"/>
                  </a:lnTo>
                  <a:lnTo>
                    <a:pt x="2318" y="70"/>
                  </a:lnTo>
                  <a:lnTo>
                    <a:pt x="2318" y="70"/>
                  </a:lnTo>
                  <a:lnTo>
                    <a:pt x="2316" y="70"/>
                  </a:lnTo>
                  <a:lnTo>
                    <a:pt x="2314" y="70"/>
                  </a:lnTo>
                  <a:lnTo>
                    <a:pt x="2307" y="70"/>
                  </a:lnTo>
                  <a:lnTo>
                    <a:pt x="2307" y="70"/>
                  </a:lnTo>
                  <a:lnTo>
                    <a:pt x="2283" y="70"/>
                  </a:lnTo>
                  <a:lnTo>
                    <a:pt x="2283" y="70"/>
                  </a:lnTo>
                  <a:lnTo>
                    <a:pt x="2283" y="58"/>
                  </a:lnTo>
                  <a:lnTo>
                    <a:pt x="2283" y="58"/>
                  </a:lnTo>
                  <a:lnTo>
                    <a:pt x="2283" y="47"/>
                  </a:lnTo>
                  <a:lnTo>
                    <a:pt x="2283" y="47"/>
                  </a:lnTo>
                  <a:lnTo>
                    <a:pt x="2283" y="35"/>
                  </a:lnTo>
                  <a:lnTo>
                    <a:pt x="2283" y="35"/>
                  </a:lnTo>
                  <a:lnTo>
                    <a:pt x="2283" y="28"/>
                  </a:lnTo>
                  <a:lnTo>
                    <a:pt x="2283" y="23"/>
                  </a:lnTo>
                  <a:lnTo>
                    <a:pt x="2283" y="23"/>
                  </a:lnTo>
                  <a:lnTo>
                    <a:pt x="2281" y="21"/>
                  </a:lnTo>
                  <a:lnTo>
                    <a:pt x="2276" y="23"/>
                  </a:lnTo>
                  <a:lnTo>
                    <a:pt x="2274" y="23"/>
                  </a:lnTo>
                  <a:lnTo>
                    <a:pt x="2271" y="23"/>
                  </a:lnTo>
                  <a:lnTo>
                    <a:pt x="2271" y="23"/>
                  </a:lnTo>
                  <a:lnTo>
                    <a:pt x="2271" y="21"/>
                  </a:lnTo>
                  <a:lnTo>
                    <a:pt x="2271" y="16"/>
                  </a:lnTo>
                  <a:lnTo>
                    <a:pt x="2271" y="14"/>
                  </a:lnTo>
                  <a:lnTo>
                    <a:pt x="2271" y="11"/>
                  </a:lnTo>
                  <a:lnTo>
                    <a:pt x="2271" y="11"/>
                  </a:lnTo>
                  <a:lnTo>
                    <a:pt x="2269" y="9"/>
                  </a:lnTo>
                  <a:lnTo>
                    <a:pt x="2264" y="9"/>
                  </a:lnTo>
                  <a:lnTo>
                    <a:pt x="2260" y="11"/>
                  </a:lnTo>
                  <a:lnTo>
                    <a:pt x="2260" y="11"/>
                  </a:lnTo>
                  <a:lnTo>
                    <a:pt x="2260" y="4"/>
                  </a:lnTo>
                  <a:lnTo>
                    <a:pt x="2260" y="2"/>
                  </a:lnTo>
                  <a:lnTo>
                    <a:pt x="2260" y="0"/>
                  </a:lnTo>
                  <a:lnTo>
                    <a:pt x="2260" y="0"/>
                  </a:lnTo>
                  <a:lnTo>
                    <a:pt x="2248" y="0"/>
                  </a:lnTo>
                  <a:lnTo>
                    <a:pt x="2248" y="0"/>
                  </a:lnTo>
                  <a:lnTo>
                    <a:pt x="2248" y="11"/>
                  </a:lnTo>
                  <a:lnTo>
                    <a:pt x="2248" y="11"/>
                  </a:lnTo>
                  <a:lnTo>
                    <a:pt x="2248" y="16"/>
                  </a:lnTo>
                  <a:lnTo>
                    <a:pt x="2248" y="23"/>
                  </a:lnTo>
                  <a:lnTo>
                    <a:pt x="2248" y="23"/>
                  </a:lnTo>
                  <a:lnTo>
                    <a:pt x="2241" y="23"/>
                  </a:lnTo>
                  <a:lnTo>
                    <a:pt x="2236" y="23"/>
                  </a:lnTo>
                  <a:lnTo>
                    <a:pt x="2236" y="23"/>
                  </a:lnTo>
                  <a:lnTo>
                    <a:pt x="2236" y="28"/>
                  </a:lnTo>
                  <a:lnTo>
                    <a:pt x="2236" y="35"/>
                  </a:lnTo>
                  <a:lnTo>
                    <a:pt x="2236" y="35"/>
                  </a:lnTo>
                  <a:lnTo>
                    <a:pt x="2229" y="35"/>
                  </a:lnTo>
                  <a:lnTo>
                    <a:pt x="2224" y="35"/>
                  </a:lnTo>
                  <a:lnTo>
                    <a:pt x="2224" y="35"/>
                  </a:lnTo>
                  <a:lnTo>
                    <a:pt x="2222" y="40"/>
                  </a:lnTo>
                  <a:lnTo>
                    <a:pt x="2224" y="47"/>
                  </a:lnTo>
                  <a:lnTo>
                    <a:pt x="2224" y="47"/>
                  </a:lnTo>
                  <a:lnTo>
                    <a:pt x="2224" y="58"/>
                  </a:lnTo>
                  <a:lnTo>
                    <a:pt x="2224" y="58"/>
                  </a:lnTo>
                  <a:lnTo>
                    <a:pt x="2212" y="58"/>
                  </a:lnTo>
                  <a:lnTo>
                    <a:pt x="2212" y="58"/>
                  </a:lnTo>
                  <a:lnTo>
                    <a:pt x="2201" y="58"/>
                  </a:lnTo>
                  <a:lnTo>
                    <a:pt x="2201" y="58"/>
                  </a:lnTo>
                  <a:lnTo>
                    <a:pt x="2187" y="58"/>
                  </a:lnTo>
                  <a:lnTo>
                    <a:pt x="2187" y="58"/>
                  </a:lnTo>
                  <a:lnTo>
                    <a:pt x="2175" y="58"/>
                  </a:lnTo>
                  <a:lnTo>
                    <a:pt x="2175" y="58"/>
                  </a:lnTo>
                  <a:lnTo>
                    <a:pt x="2170" y="58"/>
                  </a:lnTo>
                  <a:lnTo>
                    <a:pt x="2163" y="58"/>
                  </a:lnTo>
                  <a:lnTo>
                    <a:pt x="2163" y="58"/>
                  </a:lnTo>
                  <a:lnTo>
                    <a:pt x="2163" y="63"/>
                  </a:lnTo>
                  <a:lnTo>
                    <a:pt x="2163" y="70"/>
                  </a:lnTo>
                  <a:lnTo>
                    <a:pt x="2163" y="70"/>
                  </a:lnTo>
                  <a:lnTo>
                    <a:pt x="2161" y="70"/>
                  </a:lnTo>
                  <a:lnTo>
                    <a:pt x="2158" y="70"/>
                  </a:lnTo>
                  <a:lnTo>
                    <a:pt x="2151" y="70"/>
                  </a:lnTo>
                  <a:lnTo>
                    <a:pt x="2151" y="70"/>
                  </a:lnTo>
                  <a:lnTo>
                    <a:pt x="2128" y="70"/>
                  </a:lnTo>
                  <a:lnTo>
                    <a:pt x="2128" y="70"/>
                  </a:lnTo>
                  <a:lnTo>
                    <a:pt x="2128" y="94"/>
                  </a:lnTo>
                  <a:lnTo>
                    <a:pt x="2128" y="94"/>
                  </a:lnTo>
                  <a:lnTo>
                    <a:pt x="2128" y="141"/>
                  </a:lnTo>
                  <a:lnTo>
                    <a:pt x="2128" y="141"/>
                  </a:lnTo>
                  <a:lnTo>
                    <a:pt x="2128" y="188"/>
                  </a:lnTo>
                  <a:lnTo>
                    <a:pt x="2128" y="188"/>
                  </a:lnTo>
                  <a:lnTo>
                    <a:pt x="2123" y="188"/>
                  </a:lnTo>
                  <a:lnTo>
                    <a:pt x="2116" y="188"/>
                  </a:lnTo>
                  <a:lnTo>
                    <a:pt x="2116" y="188"/>
                  </a:lnTo>
                  <a:lnTo>
                    <a:pt x="2116" y="183"/>
                  </a:lnTo>
                  <a:lnTo>
                    <a:pt x="2116" y="176"/>
                  </a:lnTo>
                  <a:lnTo>
                    <a:pt x="2116" y="176"/>
                  </a:lnTo>
                  <a:lnTo>
                    <a:pt x="2116" y="172"/>
                  </a:lnTo>
                  <a:lnTo>
                    <a:pt x="2116" y="165"/>
                  </a:lnTo>
                  <a:lnTo>
                    <a:pt x="2116" y="165"/>
                  </a:lnTo>
                  <a:lnTo>
                    <a:pt x="2111" y="165"/>
                  </a:lnTo>
                  <a:lnTo>
                    <a:pt x="2104" y="165"/>
                  </a:lnTo>
                  <a:lnTo>
                    <a:pt x="2104" y="165"/>
                  </a:lnTo>
                  <a:lnTo>
                    <a:pt x="2099" y="165"/>
                  </a:lnTo>
                  <a:lnTo>
                    <a:pt x="2092" y="165"/>
                  </a:lnTo>
                  <a:lnTo>
                    <a:pt x="2092" y="165"/>
                  </a:lnTo>
                  <a:lnTo>
                    <a:pt x="2081" y="165"/>
                  </a:lnTo>
                  <a:lnTo>
                    <a:pt x="2081" y="165"/>
                  </a:lnTo>
                  <a:lnTo>
                    <a:pt x="2057" y="165"/>
                  </a:lnTo>
                  <a:lnTo>
                    <a:pt x="2057" y="165"/>
                  </a:lnTo>
                  <a:lnTo>
                    <a:pt x="2050" y="165"/>
                  </a:lnTo>
                  <a:lnTo>
                    <a:pt x="2048" y="165"/>
                  </a:lnTo>
                  <a:lnTo>
                    <a:pt x="2045" y="165"/>
                  </a:lnTo>
                  <a:lnTo>
                    <a:pt x="2045" y="165"/>
                  </a:lnTo>
                  <a:lnTo>
                    <a:pt x="2045" y="167"/>
                  </a:lnTo>
                  <a:lnTo>
                    <a:pt x="2045" y="172"/>
                  </a:lnTo>
                  <a:lnTo>
                    <a:pt x="2045" y="176"/>
                  </a:lnTo>
                  <a:lnTo>
                    <a:pt x="2045" y="176"/>
                  </a:lnTo>
                  <a:lnTo>
                    <a:pt x="2045" y="183"/>
                  </a:lnTo>
                  <a:lnTo>
                    <a:pt x="2045" y="186"/>
                  </a:lnTo>
                  <a:lnTo>
                    <a:pt x="2045" y="188"/>
                  </a:lnTo>
                  <a:lnTo>
                    <a:pt x="2045" y="188"/>
                  </a:lnTo>
                  <a:lnTo>
                    <a:pt x="2038" y="188"/>
                  </a:lnTo>
                  <a:lnTo>
                    <a:pt x="2033" y="188"/>
                  </a:lnTo>
                  <a:lnTo>
                    <a:pt x="2033" y="188"/>
                  </a:lnTo>
                  <a:lnTo>
                    <a:pt x="2026" y="188"/>
                  </a:lnTo>
                  <a:lnTo>
                    <a:pt x="2022" y="188"/>
                  </a:lnTo>
                  <a:lnTo>
                    <a:pt x="2022" y="188"/>
                  </a:lnTo>
                  <a:lnTo>
                    <a:pt x="2022" y="186"/>
                  </a:lnTo>
                  <a:lnTo>
                    <a:pt x="2022" y="183"/>
                  </a:lnTo>
                  <a:lnTo>
                    <a:pt x="2022" y="176"/>
                  </a:lnTo>
                  <a:lnTo>
                    <a:pt x="2022" y="176"/>
                  </a:lnTo>
                  <a:lnTo>
                    <a:pt x="1998" y="176"/>
                  </a:lnTo>
                  <a:lnTo>
                    <a:pt x="1998" y="176"/>
                  </a:lnTo>
                  <a:lnTo>
                    <a:pt x="1998" y="200"/>
                  </a:lnTo>
                  <a:lnTo>
                    <a:pt x="1998" y="200"/>
                  </a:lnTo>
                  <a:lnTo>
                    <a:pt x="1986" y="200"/>
                  </a:lnTo>
                  <a:lnTo>
                    <a:pt x="1986" y="200"/>
                  </a:lnTo>
                  <a:lnTo>
                    <a:pt x="1979" y="200"/>
                  </a:lnTo>
                  <a:lnTo>
                    <a:pt x="1974" y="200"/>
                  </a:lnTo>
                  <a:lnTo>
                    <a:pt x="1974" y="200"/>
                  </a:lnTo>
                  <a:lnTo>
                    <a:pt x="1972" y="198"/>
                  </a:lnTo>
                  <a:lnTo>
                    <a:pt x="1974" y="195"/>
                  </a:lnTo>
                  <a:lnTo>
                    <a:pt x="1974" y="188"/>
                  </a:lnTo>
                  <a:lnTo>
                    <a:pt x="1974" y="188"/>
                  </a:lnTo>
                  <a:lnTo>
                    <a:pt x="1951" y="188"/>
                  </a:lnTo>
                  <a:lnTo>
                    <a:pt x="1951" y="188"/>
                  </a:lnTo>
                  <a:lnTo>
                    <a:pt x="1951" y="200"/>
                  </a:lnTo>
                  <a:lnTo>
                    <a:pt x="1951" y="200"/>
                  </a:lnTo>
                  <a:lnTo>
                    <a:pt x="1951" y="207"/>
                  </a:lnTo>
                  <a:lnTo>
                    <a:pt x="1951" y="212"/>
                  </a:lnTo>
                  <a:lnTo>
                    <a:pt x="1951" y="212"/>
                  </a:lnTo>
                  <a:lnTo>
                    <a:pt x="1944" y="214"/>
                  </a:lnTo>
                  <a:lnTo>
                    <a:pt x="1937" y="212"/>
                  </a:lnTo>
                  <a:lnTo>
                    <a:pt x="1937" y="212"/>
                  </a:lnTo>
                  <a:lnTo>
                    <a:pt x="1937" y="200"/>
                  </a:lnTo>
                  <a:lnTo>
                    <a:pt x="1937" y="200"/>
                  </a:lnTo>
                  <a:lnTo>
                    <a:pt x="1932" y="200"/>
                  </a:lnTo>
                  <a:lnTo>
                    <a:pt x="1925" y="200"/>
                  </a:lnTo>
                  <a:lnTo>
                    <a:pt x="1925" y="200"/>
                  </a:lnTo>
                  <a:lnTo>
                    <a:pt x="1913" y="200"/>
                  </a:lnTo>
                  <a:lnTo>
                    <a:pt x="1913" y="200"/>
                  </a:lnTo>
                  <a:lnTo>
                    <a:pt x="1901" y="200"/>
                  </a:lnTo>
                  <a:lnTo>
                    <a:pt x="1901" y="200"/>
                  </a:lnTo>
                  <a:lnTo>
                    <a:pt x="1890" y="200"/>
                  </a:lnTo>
                  <a:lnTo>
                    <a:pt x="1890" y="200"/>
                  </a:lnTo>
                  <a:lnTo>
                    <a:pt x="1866" y="200"/>
                  </a:lnTo>
                  <a:lnTo>
                    <a:pt x="1866" y="200"/>
                  </a:lnTo>
                  <a:lnTo>
                    <a:pt x="1843" y="200"/>
                  </a:lnTo>
                  <a:lnTo>
                    <a:pt x="1843" y="200"/>
                  </a:lnTo>
                  <a:lnTo>
                    <a:pt x="1843" y="188"/>
                  </a:lnTo>
                  <a:lnTo>
                    <a:pt x="1843" y="188"/>
                  </a:lnTo>
                  <a:lnTo>
                    <a:pt x="1843" y="176"/>
                  </a:lnTo>
                  <a:lnTo>
                    <a:pt x="1843" y="176"/>
                  </a:lnTo>
                  <a:lnTo>
                    <a:pt x="1843" y="165"/>
                  </a:lnTo>
                  <a:lnTo>
                    <a:pt x="1843" y="165"/>
                  </a:lnTo>
                  <a:lnTo>
                    <a:pt x="1843" y="160"/>
                  </a:lnTo>
                  <a:lnTo>
                    <a:pt x="1843" y="153"/>
                  </a:lnTo>
                  <a:lnTo>
                    <a:pt x="1843" y="153"/>
                  </a:lnTo>
                  <a:lnTo>
                    <a:pt x="1838" y="153"/>
                  </a:lnTo>
                  <a:lnTo>
                    <a:pt x="1831" y="153"/>
                  </a:lnTo>
                  <a:lnTo>
                    <a:pt x="1831" y="153"/>
                  </a:lnTo>
                  <a:lnTo>
                    <a:pt x="1831" y="150"/>
                  </a:lnTo>
                  <a:lnTo>
                    <a:pt x="1831" y="148"/>
                  </a:lnTo>
                  <a:lnTo>
                    <a:pt x="1831" y="141"/>
                  </a:lnTo>
                  <a:lnTo>
                    <a:pt x="1831" y="141"/>
                  </a:lnTo>
                  <a:lnTo>
                    <a:pt x="1784" y="141"/>
                  </a:lnTo>
                  <a:lnTo>
                    <a:pt x="1784" y="141"/>
                  </a:lnTo>
                  <a:lnTo>
                    <a:pt x="1784" y="136"/>
                  </a:lnTo>
                  <a:lnTo>
                    <a:pt x="1784" y="132"/>
                  </a:lnTo>
                  <a:lnTo>
                    <a:pt x="1784" y="129"/>
                  </a:lnTo>
                  <a:lnTo>
                    <a:pt x="1784" y="129"/>
                  </a:lnTo>
                  <a:lnTo>
                    <a:pt x="1772" y="129"/>
                  </a:lnTo>
                  <a:lnTo>
                    <a:pt x="1772" y="129"/>
                  </a:lnTo>
                  <a:lnTo>
                    <a:pt x="1760" y="129"/>
                  </a:lnTo>
                  <a:lnTo>
                    <a:pt x="1760" y="129"/>
                  </a:lnTo>
                  <a:lnTo>
                    <a:pt x="1748" y="129"/>
                  </a:lnTo>
                  <a:lnTo>
                    <a:pt x="1748" y="129"/>
                  </a:lnTo>
                  <a:lnTo>
                    <a:pt x="1748" y="136"/>
                  </a:lnTo>
                  <a:lnTo>
                    <a:pt x="1748" y="139"/>
                  </a:lnTo>
                  <a:lnTo>
                    <a:pt x="1748" y="141"/>
                  </a:lnTo>
                  <a:lnTo>
                    <a:pt x="1748" y="141"/>
                  </a:lnTo>
                  <a:lnTo>
                    <a:pt x="1741" y="141"/>
                  </a:lnTo>
                  <a:lnTo>
                    <a:pt x="1737" y="141"/>
                  </a:lnTo>
                  <a:lnTo>
                    <a:pt x="1737" y="141"/>
                  </a:lnTo>
                  <a:lnTo>
                    <a:pt x="1734" y="148"/>
                  </a:lnTo>
                  <a:lnTo>
                    <a:pt x="1737" y="153"/>
                  </a:lnTo>
                  <a:lnTo>
                    <a:pt x="1737" y="153"/>
                  </a:lnTo>
                  <a:lnTo>
                    <a:pt x="1737" y="176"/>
                  </a:lnTo>
                  <a:lnTo>
                    <a:pt x="1737" y="176"/>
                  </a:lnTo>
                  <a:lnTo>
                    <a:pt x="1713" y="176"/>
                  </a:lnTo>
                  <a:lnTo>
                    <a:pt x="1713" y="176"/>
                  </a:lnTo>
                  <a:lnTo>
                    <a:pt x="1713" y="153"/>
                  </a:lnTo>
                  <a:lnTo>
                    <a:pt x="1713" y="153"/>
                  </a:lnTo>
                  <a:lnTo>
                    <a:pt x="1713" y="141"/>
                  </a:lnTo>
                  <a:lnTo>
                    <a:pt x="1713" y="141"/>
                  </a:lnTo>
                  <a:lnTo>
                    <a:pt x="1713" y="129"/>
                  </a:lnTo>
                  <a:lnTo>
                    <a:pt x="1713" y="129"/>
                  </a:lnTo>
                  <a:lnTo>
                    <a:pt x="1713" y="122"/>
                  </a:lnTo>
                  <a:lnTo>
                    <a:pt x="1713" y="117"/>
                  </a:lnTo>
                  <a:lnTo>
                    <a:pt x="1713" y="117"/>
                  </a:lnTo>
                  <a:lnTo>
                    <a:pt x="1713" y="110"/>
                  </a:lnTo>
                  <a:lnTo>
                    <a:pt x="1713" y="106"/>
                  </a:lnTo>
                  <a:lnTo>
                    <a:pt x="1713" y="106"/>
                  </a:lnTo>
                  <a:lnTo>
                    <a:pt x="1706" y="106"/>
                  </a:lnTo>
                  <a:lnTo>
                    <a:pt x="1699" y="106"/>
                  </a:lnTo>
                  <a:lnTo>
                    <a:pt x="1699" y="106"/>
                  </a:lnTo>
                  <a:lnTo>
                    <a:pt x="1687" y="106"/>
                  </a:lnTo>
                  <a:lnTo>
                    <a:pt x="1687" y="106"/>
                  </a:lnTo>
                  <a:lnTo>
                    <a:pt x="1687" y="82"/>
                  </a:lnTo>
                  <a:lnTo>
                    <a:pt x="1687" y="82"/>
                  </a:lnTo>
                  <a:lnTo>
                    <a:pt x="1675" y="82"/>
                  </a:lnTo>
                  <a:lnTo>
                    <a:pt x="1675" y="82"/>
                  </a:lnTo>
                  <a:lnTo>
                    <a:pt x="1671" y="82"/>
                  </a:lnTo>
                  <a:lnTo>
                    <a:pt x="1663" y="82"/>
                  </a:lnTo>
                  <a:lnTo>
                    <a:pt x="1663" y="82"/>
                  </a:lnTo>
                  <a:lnTo>
                    <a:pt x="1663" y="87"/>
                  </a:lnTo>
                  <a:lnTo>
                    <a:pt x="1666" y="91"/>
                  </a:lnTo>
                  <a:lnTo>
                    <a:pt x="1663" y="94"/>
                  </a:lnTo>
                  <a:lnTo>
                    <a:pt x="1663" y="94"/>
                  </a:lnTo>
                  <a:lnTo>
                    <a:pt x="1663" y="99"/>
                  </a:lnTo>
                  <a:lnTo>
                    <a:pt x="1663" y="106"/>
                  </a:lnTo>
                  <a:lnTo>
                    <a:pt x="1663" y="106"/>
                  </a:lnTo>
                  <a:lnTo>
                    <a:pt x="1659" y="106"/>
                  </a:lnTo>
                  <a:lnTo>
                    <a:pt x="1652" y="106"/>
                  </a:lnTo>
                  <a:lnTo>
                    <a:pt x="1652" y="106"/>
                  </a:lnTo>
                  <a:lnTo>
                    <a:pt x="1640" y="106"/>
                  </a:lnTo>
                  <a:lnTo>
                    <a:pt x="1640" y="106"/>
                  </a:lnTo>
                  <a:lnTo>
                    <a:pt x="1628" y="106"/>
                  </a:lnTo>
                  <a:lnTo>
                    <a:pt x="1628" y="106"/>
                  </a:lnTo>
                  <a:lnTo>
                    <a:pt x="1623" y="106"/>
                  </a:lnTo>
                  <a:lnTo>
                    <a:pt x="1616" y="106"/>
                  </a:lnTo>
                  <a:lnTo>
                    <a:pt x="1616" y="106"/>
                  </a:lnTo>
                  <a:lnTo>
                    <a:pt x="1616" y="101"/>
                  </a:lnTo>
                  <a:lnTo>
                    <a:pt x="1616" y="94"/>
                  </a:lnTo>
                  <a:lnTo>
                    <a:pt x="1616" y="94"/>
                  </a:lnTo>
                  <a:lnTo>
                    <a:pt x="1612" y="94"/>
                  </a:lnTo>
                  <a:lnTo>
                    <a:pt x="1605" y="94"/>
                  </a:lnTo>
                  <a:lnTo>
                    <a:pt x="1605" y="94"/>
                  </a:lnTo>
                  <a:lnTo>
                    <a:pt x="1600" y="94"/>
                  </a:lnTo>
                  <a:lnTo>
                    <a:pt x="1593" y="94"/>
                  </a:lnTo>
                  <a:lnTo>
                    <a:pt x="1593" y="94"/>
                  </a:lnTo>
                  <a:lnTo>
                    <a:pt x="1593" y="99"/>
                  </a:lnTo>
                  <a:lnTo>
                    <a:pt x="1593" y="106"/>
                  </a:lnTo>
                  <a:lnTo>
                    <a:pt x="1593" y="106"/>
                  </a:lnTo>
                  <a:lnTo>
                    <a:pt x="1586" y="106"/>
                  </a:lnTo>
                  <a:lnTo>
                    <a:pt x="1583" y="106"/>
                  </a:lnTo>
                  <a:lnTo>
                    <a:pt x="1581" y="106"/>
                  </a:lnTo>
                  <a:lnTo>
                    <a:pt x="1581" y="106"/>
                  </a:lnTo>
                  <a:lnTo>
                    <a:pt x="1581" y="108"/>
                  </a:lnTo>
                  <a:lnTo>
                    <a:pt x="1581" y="110"/>
                  </a:lnTo>
                  <a:lnTo>
                    <a:pt x="1581" y="117"/>
                  </a:lnTo>
                  <a:lnTo>
                    <a:pt x="1581" y="117"/>
                  </a:lnTo>
                  <a:lnTo>
                    <a:pt x="1581" y="124"/>
                  </a:lnTo>
                  <a:lnTo>
                    <a:pt x="1581" y="129"/>
                  </a:lnTo>
                  <a:lnTo>
                    <a:pt x="1581" y="129"/>
                  </a:lnTo>
                  <a:lnTo>
                    <a:pt x="1576" y="129"/>
                  </a:lnTo>
                  <a:lnTo>
                    <a:pt x="1569" y="129"/>
                  </a:lnTo>
                  <a:lnTo>
                    <a:pt x="1569" y="129"/>
                  </a:lnTo>
                  <a:lnTo>
                    <a:pt x="1569" y="134"/>
                  </a:lnTo>
                  <a:lnTo>
                    <a:pt x="1569" y="141"/>
                  </a:lnTo>
                  <a:lnTo>
                    <a:pt x="1569" y="141"/>
                  </a:lnTo>
                  <a:lnTo>
                    <a:pt x="1569" y="148"/>
                  </a:lnTo>
                  <a:lnTo>
                    <a:pt x="1569" y="153"/>
                  </a:lnTo>
                  <a:lnTo>
                    <a:pt x="1569" y="153"/>
                  </a:lnTo>
                  <a:lnTo>
                    <a:pt x="1569" y="160"/>
                  </a:lnTo>
                  <a:lnTo>
                    <a:pt x="1569" y="165"/>
                  </a:lnTo>
                  <a:lnTo>
                    <a:pt x="1569" y="165"/>
                  </a:lnTo>
                  <a:lnTo>
                    <a:pt x="1565" y="165"/>
                  </a:lnTo>
                  <a:lnTo>
                    <a:pt x="1557" y="165"/>
                  </a:lnTo>
                  <a:lnTo>
                    <a:pt x="1557" y="165"/>
                  </a:lnTo>
                  <a:lnTo>
                    <a:pt x="1557" y="172"/>
                  </a:lnTo>
                  <a:lnTo>
                    <a:pt x="1557" y="176"/>
                  </a:lnTo>
                  <a:lnTo>
                    <a:pt x="1557" y="176"/>
                  </a:lnTo>
                  <a:lnTo>
                    <a:pt x="1557" y="188"/>
                  </a:lnTo>
                  <a:lnTo>
                    <a:pt x="1557" y="188"/>
                  </a:lnTo>
                  <a:lnTo>
                    <a:pt x="1550" y="188"/>
                  </a:lnTo>
                  <a:lnTo>
                    <a:pt x="1548" y="190"/>
                  </a:lnTo>
                  <a:lnTo>
                    <a:pt x="1546" y="188"/>
                  </a:lnTo>
                  <a:lnTo>
                    <a:pt x="1546" y="188"/>
                  </a:lnTo>
                  <a:lnTo>
                    <a:pt x="1546" y="183"/>
                  </a:lnTo>
                  <a:lnTo>
                    <a:pt x="1546" y="176"/>
                  </a:lnTo>
                  <a:lnTo>
                    <a:pt x="1546" y="176"/>
                  </a:lnTo>
                  <a:lnTo>
                    <a:pt x="1546" y="165"/>
                  </a:lnTo>
                  <a:lnTo>
                    <a:pt x="1546" y="165"/>
                  </a:lnTo>
                  <a:lnTo>
                    <a:pt x="1546" y="160"/>
                  </a:lnTo>
                  <a:lnTo>
                    <a:pt x="1546" y="153"/>
                  </a:lnTo>
                  <a:lnTo>
                    <a:pt x="1546" y="153"/>
                  </a:lnTo>
                  <a:lnTo>
                    <a:pt x="1539" y="153"/>
                  </a:lnTo>
                  <a:lnTo>
                    <a:pt x="1534" y="153"/>
                  </a:lnTo>
                  <a:lnTo>
                    <a:pt x="1534" y="153"/>
                  </a:lnTo>
                  <a:lnTo>
                    <a:pt x="1534" y="148"/>
                  </a:lnTo>
                  <a:lnTo>
                    <a:pt x="1534" y="141"/>
                  </a:lnTo>
                  <a:lnTo>
                    <a:pt x="1534" y="141"/>
                  </a:lnTo>
                  <a:lnTo>
                    <a:pt x="1534" y="136"/>
                  </a:lnTo>
                  <a:lnTo>
                    <a:pt x="1534" y="129"/>
                  </a:lnTo>
                  <a:lnTo>
                    <a:pt x="1534" y="129"/>
                  </a:lnTo>
                  <a:lnTo>
                    <a:pt x="1532" y="129"/>
                  </a:lnTo>
                  <a:lnTo>
                    <a:pt x="1527" y="129"/>
                  </a:lnTo>
                  <a:lnTo>
                    <a:pt x="1522" y="129"/>
                  </a:lnTo>
                  <a:lnTo>
                    <a:pt x="1522" y="129"/>
                  </a:lnTo>
                  <a:lnTo>
                    <a:pt x="1520" y="127"/>
                  </a:lnTo>
                  <a:lnTo>
                    <a:pt x="1522" y="124"/>
                  </a:lnTo>
                  <a:lnTo>
                    <a:pt x="1522" y="117"/>
                  </a:lnTo>
                  <a:lnTo>
                    <a:pt x="1522" y="117"/>
                  </a:lnTo>
                  <a:lnTo>
                    <a:pt x="1522" y="94"/>
                  </a:lnTo>
                  <a:lnTo>
                    <a:pt x="1522" y="94"/>
                  </a:lnTo>
                  <a:lnTo>
                    <a:pt x="1510" y="94"/>
                  </a:lnTo>
                  <a:lnTo>
                    <a:pt x="1510" y="94"/>
                  </a:lnTo>
                  <a:lnTo>
                    <a:pt x="1503" y="94"/>
                  </a:lnTo>
                  <a:lnTo>
                    <a:pt x="1499" y="94"/>
                  </a:lnTo>
                  <a:lnTo>
                    <a:pt x="1499" y="94"/>
                  </a:lnTo>
                  <a:lnTo>
                    <a:pt x="1496" y="87"/>
                  </a:lnTo>
                  <a:lnTo>
                    <a:pt x="1499" y="82"/>
                  </a:lnTo>
                  <a:lnTo>
                    <a:pt x="1499" y="82"/>
                  </a:lnTo>
                  <a:lnTo>
                    <a:pt x="1499" y="70"/>
                  </a:lnTo>
                  <a:lnTo>
                    <a:pt x="1499" y="70"/>
                  </a:lnTo>
                  <a:lnTo>
                    <a:pt x="1491" y="70"/>
                  </a:lnTo>
                  <a:lnTo>
                    <a:pt x="1489" y="70"/>
                  </a:lnTo>
                  <a:lnTo>
                    <a:pt x="1487" y="70"/>
                  </a:lnTo>
                  <a:lnTo>
                    <a:pt x="1487" y="70"/>
                  </a:lnTo>
                  <a:lnTo>
                    <a:pt x="1487" y="63"/>
                  </a:lnTo>
                  <a:lnTo>
                    <a:pt x="1487" y="58"/>
                  </a:lnTo>
                  <a:lnTo>
                    <a:pt x="1487" y="58"/>
                  </a:lnTo>
                  <a:lnTo>
                    <a:pt x="1480" y="58"/>
                  </a:lnTo>
                  <a:lnTo>
                    <a:pt x="1475" y="58"/>
                  </a:lnTo>
                  <a:lnTo>
                    <a:pt x="1475" y="58"/>
                  </a:lnTo>
                  <a:lnTo>
                    <a:pt x="1449" y="58"/>
                  </a:lnTo>
                  <a:lnTo>
                    <a:pt x="1449" y="58"/>
                  </a:lnTo>
                  <a:lnTo>
                    <a:pt x="1437" y="58"/>
                  </a:lnTo>
                  <a:lnTo>
                    <a:pt x="1437" y="58"/>
                  </a:lnTo>
                  <a:lnTo>
                    <a:pt x="1425" y="58"/>
                  </a:lnTo>
                  <a:lnTo>
                    <a:pt x="1425" y="58"/>
                  </a:lnTo>
                  <a:lnTo>
                    <a:pt x="1414" y="58"/>
                  </a:lnTo>
                  <a:lnTo>
                    <a:pt x="1414" y="58"/>
                  </a:lnTo>
                  <a:lnTo>
                    <a:pt x="1414" y="51"/>
                  </a:lnTo>
                  <a:lnTo>
                    <a:pt x="1414" y="47"/>
                  </a:lnTo>
                  <a:lnTo>
                    <a:pt x="1414" y="47"/>
                  </a:lnTo>
                  <a:lnTo>
                    <a:pt x="1402" y="47"/>
                  </a:lnTo>
                  <a:lnTo>
                    <a:pt x="1402" y="47"/>
                  </a:lnTo>
                  <a:lnTo>
                    <a:pt x="1390" y="47"/>
                  </a:lnTo>
                  <a:lnTo>
                    <a:pt x="1390" y="47"/>
                  </a:lnTo>
                  <a:lnTo>
                    <a:pt x="1367" y="47"/>
                  </a:lnTo>
                  <a:lnTo>
                    <a:pt x="1367" y="47"/>
                  </a:lnTo>
                  <a:lnTo>
                    <a:pt x="1367" y="94"/>
                  </a:lnTo>
                  <a:lnTo>
                    <a:pt x="1367" y="94"/>
                  </a:lnTo>
                  <a:lnTo>
                    <a:pt x="1367" y="141"/>
                  </a:lnTo>
                  <a:lnTo>
                    <a:pt x="1367" y="141"/>
                  </a:lnTo>
                  <a:lnTo>
                    <a:pt x="1355" y="141"/>
                  </a:lnTo>
                  <a:lnTo>
                    <a:pt x="1355" y="141"/>
                  </a:lnTo>
                  <a:lnTo>
                    <a:pt x="1261" y="141"/>
                  </a:lnTo>
                  <a:lnTo>
                    <a:pt x="1261" y="141"/>
                  </a:lnTo>
                  <a:lnTo>
                    <a:pt x="1261" y="153"/>
                  </a:lnTo>
                  <a:lnTo>
                    <a:pt x="1261" y="153"/>
                  </a:lnTo>
                  <a:lnTo>
                    <a:pt x="1261" y="176"/>
                  </a:lnTo>
                  <a:lnTo>
                    <a:pt x="1261" y="176"/>
                  </a:lnTo>
                  <a:lnTo>
                    <a:pt x="1261" y="188"/>
                  </a:lnTo>
                  <a:lnTo>
                    <a:pt x="1261" y="188"/>
                  </a:lnTo>
                  <a:lnTo>
                    <a:pt x="1261" y="200"/>
                  </a:lnTo>
                  <a:lnTo>
                    <a:pt x="1261" y="200"/>
                  </a:lnTo>
                  <a:lnTo>
                    <a:pt x="1261" y="207"/>
                  </a:lnTo>
                  <a:lnTo>
                    <a:pt x="1261" y="212"/>
                  </a:lnTo>
                  <a:lnTo>
                    <a:pt x="1261" y="212"/>
                  </a:lnTo>
                  <a:lnTo>
                    <a:pt x="1253" y="212"/>
                  </a:lnTo>
                  <a:lnTo>
                    <a:pt x="1249" y="212"/>
                  </a:lnTo>
                  <a:lnTo>
                    <a:pt x="1249" y="212"/>
                  </a:lnTo>
                  <a:lnTo>
                    <a:pt x="1249" y="219"/>
                  </a:lnTo>
                  <a:lnTo>
                    <a:pt x="1249" y="223"/>
                  </a:lnTo>
                  <a:lnTo>
                    <a:pt x="1249" y="223"/>
                  </a:lnTo>
                  <a:lnTo>
                    <a:pt x="1242" y="223"/>
                  </a:lnTo>
                  <a:lnTo>
                    <a:pt x="1237" y="223"/>
                  </a:lnTo>
                  <a:lnTo>
                    <a:pt x="1237" y="223"/>
                  </a:lnTo>
                  <a:lnTo>
                    <a:pt x="1235" y="230"/>
                  </a:lnTo>
                  <a:lnTo>
                    <a:pt x="1237" y="235"/>
                  </a:lnTo>
                  <a:lnTo>
                    <a:pt x="1237" y="235"/>
                  </a:lnTo>
                  <a:lnTo>
                    <a:pt x="1237" y="249"/>
                  </a:lnTo>
                  <a:lnTo>
                    <a:pt x="1237" y="249"/>
                  </a:lnTo>
                  <a:lnTo>
                    <a:pt x="1230" y="249"/>
                  </a:lnTo>
                  <a:lnTo>
                    <a:pt x="1225" y="249"/>
                  </a:lnTo>
                  <a:lnTo>
                    <a:pt x="1225" y="249"/>
                  </a:lnTo>
                  <a:lnTo>
                    <a:pt x="1218" y="249"/>
                  </a:lnTo>
                  <a:lnTo>
                    <a:pt x="1211" y="249"/>
                  </a:lnTo>
                  <a:lnTo>
                    <a:pt x="1211" y="249"/>
                  </a:lnTo>
                  <a:lnTo>
                    <a:pt x="1213" y="242"/>
                  </a:lnTo>
                  <a:lnTo>
                    <a:pt x="1211" y="235"/>
                  </a:lnTo>
                  <a:lnTo>
                    <a:pt x="1211" y="235"/>
                  </a:lnTo>
                  <a:lnTo>
                    <a:pt x="1206" y="235"/>
                  </a:lnTo>
                  <a:lnTo>
                    <a:pt x="1199" y="235"/>
                  </a:lnTo>
                  <a:lnTo>
                    <a:pt x="1199" y="235"/>
                  </a:lnTo>
                  <a:lnTo>
                    <a:pt x="1188" y="235"/>
                  </a:lnTo>
                  <a:lnTo>
                    <a:pt x="1188" y="235"/>
                  </a:lnTo>
                  <a:lnTo>
                    <a:pt x="1188" y="242"/>
                  </a:lnTo>
                  <a:lnTo>
                    <a:pt x="1190" y="247"/>
                  </a:lnTo>
                  <a:lnTo>
                    <a:pt x="1188" y="249"/>
                  </a:lnTo>
                  <a:lnTo>
                    <a:pt x="1188" y="249"/>
                  </a:lnTo>
                  <a:lnTo>
                    <a:pt x="1185" y="249"/>
                  </a:lnTo>
                  <a:lnTo>
                    <a:pt x="1183" y="249"/>
                  </a:lnTo>
                  <a:lnTo>
                    <a:pt x="1178" y="247"/>
                  </a:lnTo>
                  <a:lnTo>
                    <a:pt x="1176" y="249"/>
                  </a:lnTo>
                  <a:lnTo>
                    <a:pt x="1176" y="249"/>
                  </a:lnTo>
                  <a:lnTo>
                    <a:pt x="1176" y="252"/>
                  </a:lnTo>
                  <a:lnTo>
                    <a:pt x="1176" y="254"/>
                  </a:lnTo>
                  <a:lnTo>
                    <a:pt x="1178" y="259"/>
                  </a:lnTo>
                  <a:lnTo>
                    <a:pt x="1176" y="261"/>
                  </a:lnTo>
                  <a:lnTo>
                    <a:pt x="1176" y="261"/>
                  </a:lnTo>
                  <a:lnTo>
                    <a:pt x="1173" y="261"/>
                  </a:lnTo>
                  <a:lnTo>
                    <a:pt x="1171" y="261"/>
                  </a:lnTo>
                  <a:lnTo>
                    <a:pt x="1164" y="261"/>
                  </a:lnTo>
                  <a:lnTo>
                    <a:pt x="1164" y="261"/>
                  </a:lnTo>
                  <a:lnTo>
                    <a:pt x="1164" y="235"/>
                  </a:lnTo>
                  <a:lnTo>
                    <a:pt x="1164" y="235"/>
                  </a:lnTo>
                  <a:lnTo>
                    <a:pt x="1152" y="235"/>
                  </a:lnTo>
                  <a:lnTo>
                    <a:pt x="1152" y="235"/>
                  </a:lnTo>
                  <a:lnTo>
                    <a:pt x="1140" y="235"/>
                  </a:lnTo>
                  <a:lnTo>
                    <a:pt x="1140" y="235"/>
                  </a:lnTo>
                  <a:lnTo>
                    <a:pt x="1129" y="235"/>
                  </a:lnTo>
                  <a:lnTo>
                    <a:pt x="1129" y="235"/>
                  </a:lnTo>
                  <a:lnTo>
                    <a:pt x="1129" y="242"/>
                  </a:lnTo>
                  <a:lnTo>
                    <a:pt x="1129" y="247"/>
                  </a:lnTo>
                  <a:lnTo>
                    <a:pt x="1129" y="249"/>
                  </a:lnTo>
                  <a:lnTo>
                    <a:pt x="1129" y="249"/>
                  </a:lnTo>
                  <a:lnTo>
                    <a:pt x="1126" y="249"/>
                  </a:lnTo>
                  <a:lnTo>
                    <a:pt x="1124" y="249"/>
                  </a:lnTo>
                  <a:lnTo>
                    <a:pt x="1119" y="247"/>
                  </a:lnTo>
                  <a:lnTo>
                    <a:pt x="1117" y="249"/>
                  </a:lnTo>
                  <a:lnTo>
                    <a:pt x="1117" y="249"/>
                  </a:lnTo>
                  <a:lnTo>
                    <a:pt x="1117" y="252"/>
                  </a:lnTo>
                  <a:lnTo>
                    <a:pt x="1117" y="254"/>
                  </a:lnTo>
                  <a:lnTo>
                    <a:pt x="1117" y="259"/>
                  </a:lnTo>
                  <a:lnTo>
                    <a:pt x="1117" y="261"/>
                  </a:lnTo>
                  <a:lnTo>
                    <a:pt x="1117" y="261"/>
                  </a:lnTo>
                  <a:lnTo>
                    <a:pt x="1114" y="261"/>
                  </a:lnTo>
                  <a:lnTo>
                    <a:pt x="1112" y="261"/>
                  </a:lnTo>
                  <a:lnTo>
                    <a:pt x="1105" y="261"/>
                  </a:lnTo>
                  <a:lnTo>
                    <a:pt x="1105" y="261"/>
                  </a:lnTo>
                  <a:lnTo>
                    <a:pt x="1100" y="261"/>
                  </a:lnTo>
                  <a:lnTo>
                    <a:pt x="1093" y="261"/>
                  </a:lnTo>
                  <a:lnTo>
                    <a:pt x="1093" y="261"/>
                  </a:lnTo>
                  <a:lnTo>
                    <a:pt x="1086" y="259"/>
                  </a:lnTo>
                  <a:lnTo>
                    <a:pt x="1081" y="261"/>
                  </a:lnTo>
                  <a:lnTo>
                    <a:pt x="1081" y="261"/>
                  </a:lnTo>
                  <a:lnTo>
                    <a:pt x="1081" y="273"/>
                  </a:lnTo>
                  <a:lnTo>
                    <a:pt x="1081" y="273"/>
                  </a:lnTo>
                  <a:lnTo>
                    <a:pt x="1081" y="278"/>
                  </a:lnTo>
                  <a:lnTo>
                    <a:pt x="1081" y="285"/>
                  </a:lnTo>
                  <a:lnTo>
                    <a:pt x="1081" y="285"/>
                  </a:lnTo>
                  <a:lnTo>
                    <a:pt x="1079" y="285"/>
                  </a:lnTo>
                  <a:lnTo>
                    <a:pt x="1074" y="285"/>
                  </a:lnTo>
                  <a:lnTo>
                    <a:pt x="1070" y="285"/>
                  </a:lnTo>
                  <a:lnTo>
                    <a:pt x="1070" y="285"/>
                  </a:lnTo>
                  <a:lnTo>
                    <a:pt x="1070" y="188"/>
                  </a:lnTo>
                  <a:lnTo>
                    <a:pt x="1070" y="188"/>
                  </a:lnTo>
                  <a:lnTo>
                    <a:pt x="1058" y="188"/>
                  </a:lnTo>
                  <a:lnTo>
                    <a:pt x="1058" y="188"/>
                  </a:lnTo>
                  <a:lnTo>
                    <a:pt x="1034" y="188"/>
                  </a:lnTo>
                  <a:lnTo>
                    <a:pt x="1034" y="188"/>
                  </a:lnTo>
                  <a:lnTo>
                    <a:pt x="1034" y="165"/>
                  </a:lnTo>
                  <a:lnTo>
                    <a:pt x="1034" y="165"/>
                  </a:lnTo>
                  <a:lnTo>
                    <a:pt x="1011" y="165"/>
                  </a:lnTo>
                  <a:lnTo>
                    <a:pt x="1011" y="165"/>
                  </a:lnTo>
                  <a:lnTo>
                    <a:pt x="1011" y="188"/>
                  </a:lnTo>
                  <a:lnTo>
                    <a:pt x="1011" y="188"/>
                  </a:lnTo>
                  <a:lnTo>
                    <a:pt x="961" y="188"/>
                  </a:lnTo>
                  <a:lnTo>
                    <a:pt x="961" y="188"/>
                  </a:lnTo>
                  <a:lnTo>
                    <a:pt x="961" y="195"/>
                  </a:lnTo>
                  <a:lnTo>
                    <a:pt x="961" y="200"/>
                  </a:lnTo>
                  <a:lnTo>
                    <a:pt x="961" y="200"/>
                  </a:lnTo>
                  <a:lnTo>
                    <a:pt x="968" y="200"/>
                  </a:lnTo>
                  <a:lnTo>
                    <a:pt x="975" y="200"/>
                  </a:lnTo>
                  <a:lnTo>
                    <a:pt x="975" y="200"/>
                  </a:lnTo>
                  <a:lnTo>
                    <a:pt x="975" y="207"/>
                  </a:lnTo>
                  <a:lnTo>
                    <a:pt x="975" y="212"/>
                  </a:lnTo>
                  <a:lnTo>
                    <a:pt x="975" y="212"/>
                  </a:lnTo>
                  <a:lnTo>
                    <a:pt x="975" y="223"/>
                  </a:lnTo>
                  <a:lnTo>
                    <a:pt x="975" y="223"/>
                  </a:lnTo>
                  <a:lnTo>
                    <a:pt x="975" y="235"/>
                  </a:lnTo>
                  <a:lnTo>
                    <a:pt x="975" y="235"/>
                  </a:lnTo>
                  <a:lnTo>
                    <a:pt x="975" y="249"/>
                  </a:lnTo>
                  <a:lnTo>
                    <a:pt x="975" y="249"/>
                  </a:lnTo>
                  <a:lnTo>
                    <a:pt x="975" y="261"/>
                  </a:lnTo>
                  <a:lnTo>
                    <a:pt x="975" y="261"/>
                  </a:lnTo>
                  <a:lnTo>
                    <a:pt x="975" y="285"/>
                  </a:lnTo>
                  <a:lnTo>
                    <a:pt x="975" y="285"/>
                  </a:lnTo>
                  <a:lnTo>
                    <a:pt x="968" y="285"/>
                  </a:lnTo>
                  <a:lnTo>
                    <a:pt x="961" y="285"/>
                  </a:lnTo>
                  <a:lnTo>
                    <a:pt x="961" y="285"/>
                  </a:lnTo>
                  <a:lnTo>
                    <a:pt x="957" y="285"/>
                  </a:lnTo>
                  <a:lnTo>
                    <a:pt x="950" y="285"/>
                  </a:lnTo>
                  <a:lnTo>
                    <a:pt x="950" y="285"/>
                  </a:lnTo>
                  <a:lnTo>
                    <a:pt x="950" y="278"/>
                  </a:lnTo>
                  <a:lnTo>
                    <a:pt x="950" y="273"/>
                  </a:lnTo>
                  <a:lnTo>
                    <a:pt x="950" y="273"/>
                  </a:lnTo>
                  <a:lnTo>
                    <a:pt x="945" y="271"/>
                  </a:lnTo>
                  <a:lnTo>
                    <a:pt x="938" y="273"/>
                  </a:lnTo>
                  <a:lnTo>
                    <a:pt x="938" y="273"/>
                  </a:lnTo>
                  <a:lnTo>
                    <a:pt x="926" y="273"/>
                  </a:lnTo>
                  <a:lnTo>
                    <a:pt x="926" y="273"/>
                  </a:lnTo>
                  <a:lnTo>
                    <a:pt x="914" y="273"/>
                  </a:lnTo>
                  <a:lnTo>
                    <a:pt x="914" y="273"/>
                  </a:lnTo>
                  <a:lnTo>
                    <a:pt x="909" y="271"/>
                  </a:lnTo>
                  <a:lnTo>
                    <a:pt x="902" y="273"/>
                  </a:lnTo>
                  <a:lnTo>
                    <a:pt x="902" y="273"/>
                  </a:lnTo>
                  <a:lnTo>
                    <a:pt x="902" y="278"/>
                  </a:lnTo>
                  <a:lnTo>
                    <a:pt x="902" y="285"/>
                  </a:lnTo>
                  <a:lnTo>
                    <a:pt x="902" y="285"/>
                  </a:lnTo>
                  <a:lnTo>
                    <a:pt x="898" y="285"/>
                  </a:lnTo>
                  <a:lnTo>
                    <a:pt x="891" y="285"/>
                  </a:lnTo>
                  <a:lnTo>
                    <a:pt x="891" y="285"/>
                  </a:lnTo>
                  <a:lnTo>
                    <a:pt x="886" y="285"/>
                  </a:lnTo>
                  <a:lnTo>
                    <a:pt x="879" y="285"/>
                  </a:lnTo>
                  <a:lnTo>
                    <a:pt x="879" y="285"/>
                  </a:lnTo>
                  <a:lnTo>
                    <a:pt x="879" y="278"/>
                  </a:lnTo>
                  <a:lnTo>
                    <a:pt x="879" y="273"/>
                  </a:lnTo>
                  <a:lnTo>
                    <a:pt x="879" y="273"/>
                  </a:lnTo>
                  <a:lnTo>
                    <a:pt x="879" y="266"/>
                  </a:lnTo>
                  <a:lnTo>
                    <a:pt x="879" y="261"/>
                  </a:lnTo>
                  <a:lnTo>
                    <a:pt x="879" y="261"/>
                  </a:lnTo>
                  <a:lnTo>
                    <a:pt x="874" y="261"/>
                  </a:lnTo>
                  <a:lnTo>
                    <a:pt x="867" y="261"/>
                  </a:lnTo>
                  <a:lnTo>
                    <a:pt x="867" y="261"/>
                  </a:lnTo>
                  <a:lnTo>
                    <a:pt x="860" y="261"/>
                  </a:lnTo>
                  <a:lnTo>
                    <a:pt x="858" y="259"/>
                  </a:lnTo>
                  <a:lnTo>
                    <a:pt x="855" y="261"/>
                  </a:lnTo>
                  <a:lnTo>
                    <a:pt x="855" y="261"/>
                  </a:lnTo>
                  <a:lnTo>
                    <a:pt x="855" y="263"/>
                  </a:lnTo>
                  <a:lnTo>
                    <a:pt x="855" y="266"/>
                  </a:lnTo>
                  <a:lnTo>
                    <a:pt x="855" y="273"/>
                  </a:lnTo>
                  <a:lnTo>
                    <a:pt x="855" y="273"/>
                  </a:lnTo>
                  <a:lnTo>
                    <a:pt x="855" y="275"/>
                  </a:lnTo>
                  <a:lnTo>
                    <a:pt x="855" y="278"/>
                  </a:lnTo>
                  <a:lnTo>
                    <a:pt x="855" y="282"/>
                  </a:lnTo>
                  <a:lnTo>
                    <a:pt x="855" y="285"/>
                  </a:lnTo>
                  <a:lnTo>
                    <a:pt x="855" y="285"/>
                  </a:lnTo>
                  <a:lnTo>
                    <a:pt x="851" y="285"/>
                  </a:lnTo>
                  <a:lnTo>
                    <a:pt x="844" y="285"/>
                  </a:lnTo>
                  <a:lnTo>
                    <a:pt x="844" y="285"/>
                  </a:lnTo>
                  <a:lnTo>
                    <a:pt x="832" y="285"/>
                  </a:lnTo>
                  <a:lnTo>
                    <a:pt x="832" y="285"/>
                  </a:lnTo>
                  <a:lnTo>
                    <a:pt x="825" y="285"/>
                  </a:lnTo>
                  <a:lnTo>
                    <a:pt x="820" y="285"/>
                  </a:lnTo>
                  <a:lnTo>
                    <a:pt x="820" y="285"/>
                  </a:lnTo>
                  <a:lnTo>
                    <a:pt x="820" y="282"/>
                  </a:lnTo>
                  <a:lnTo>
                    <a:pt x="820" y="278"/>
                  </a:lnTo>
                  <a:lnTo>
                    <a:pt x="820" y="273"/>
                  </a:lnTo>
                  <a:lnTo>
                    <a:pt x="820" y="273"/>
                  </a:lnTo>
                  <a:lnTo>
                    <a:pt x="796" y="273"/>
                  </a:lnTo>
                  <a:lnTo>
                    <a:pt x="796" y="273"/>
                  </a:lnTo>
                  <a:lnTo>
                    <a:pt x="785" y="273"/>
                  </a:lnTo>
                  <a:lnTo>
                    <a:pt x="785" y="273"/>
                  </a:lnTo>
                  <a:lnTo>
                    <a:pt x="761" y="273"/>
                  </a:lnTo>
                  <a:lnTo>
                    <a:pt x="761" y="273"/>
                  </a:lnTo>
                  <a:lnTo>
                    <a:pt x="737" y="273"/>
                  </a:lnTo>
                  <a:lnTo>
                    <a:pt x="737" y="273"/>
                  </a:lnTo>
                  <a:lnTo>
                    <a:pt x="737" y="261"/>
                  </a:lnTo>
                  <a:lnTo>
                    <a:pt x="737" y="261"/>
                  </a:lnTo>
                  <a:lnTo>
                    <a:pt x="737" y="235"/>
                  </a:lnTo>
                  <a:lnTo>
                    <a:pt x="737" y="235"/>
                  </a:lnTo>
                  <a:lnTo>
                    <a:pt x="737" y="188"/>
                  </a:lnTo>
                  <a:lnTo>
                    <a:pt x="737" y="188"/>
                  </a:lnTo>
                  <a:lnTo>
                    <a:pt x="688" y="188"/>
                  </a:lnTo>
                  <a:lnTo>
                    <a:pt x="688" y="188"/>
                  </a:lnTo>
                  <a:lnTo>
                    <a:pt x="688" y="176"/>
                  </a:lnTo>
                  <a:lnTo>
                    <a:pt x="688" y="176"/>
                  </a:lnTo>
                  <a:lnTo>
                    <a:pt x="690" y="172"/>
                  </a:lnTo>
                  <a:lnTo>
                    <a:pt x="688" y="165"/>
                  </a:lnTo>
                  <a:lnTo>
                    <a:pt x="688" y="165"/>
                  </a:lnTo>
                  <a:lnTo>
                    <a:pt x="686" y="165"/>
                  </a:lnTo>
                  <a:lnTo>
                    <a:pt x="683" y="165"/>
                  </a:lnTo>
                  <a:lnTo>
                    <a:pt x="676" y="165"/>
                  </a:lnTo>
                  <a:lnTo>
                    <a:pt x="676" y="165"/>
                  </a:lnTo>
                  <a:lnTo>
                    <a:pt x="653" y="165"/>
                  </a:lnTo>
                  <a:lnTo>
                    <a:pt x="653" y="165"/>
                  </a:lnTo>
                  <a:lnTo>
                    <a:pt x="653" y="172"/>
                  </a:lnTo>
                  <a:lnTo>
                    <a:pt x="653" y="174"/>
                  </a:lnTo>
                  <a:lnTo>
                    <a:pt x="653" y="176"/>
                  </a:lnTo>
                  <a:lnTo>
                    <a:pt x="653" y="176"/>
                  </a:lnTo>
                  <a:lnTo>
                    <a:pt x="648" y="176"/>
                  </a:lnTo>
                  <a:lnTo>
                    <a:pt x="641" y="176"/>
                  </a:lnTo>
                  <a:lnTo>
                    <a:pt x="641" y="176"/>
                  </a:lnTo>
                  <a:lnTo>
                    <a:pt x="641" y="183"/>
                  </a:lnTo>
                  <a:lnTo>
                    <a:pt x="641" y="188"/>
                  </a:lnTo>
                  <a:lnTo>
                    <a:pt x="641" y="188"/>
                  </a:lnTo>
                  <a:lnTo>
                    <a:pt x="641" y="200"/>
                  </a:lnTo>
                  <a:lnTo>
                    <a:pt x="641" y="200"/>
                  </a:lnTo>
                  <a:lnTo>
                    <a:pt x="641" y="212"/>
                  </a:lnTo>
                  <a:lnTo>
                    <a:pt x="641" y="212"/>
                  </a:lnTo>
                  <a:lnTo>
                    <a:pt x="641" y="223"/>
                  </a:lnTo>
                  <a:lnTo>
                    <a:pt x="641" y="223"/>
                  </a:lnTo>
                  <a:lnTo>
                    <a:pt x="641" y="235"/>
                  </a:lnTo>
                  <a:lnTo>
                    <a:pt x="641" y="235"/>
                  </a:lnTo>
                  <a:lnTo>
                    <a:pt x="641" y="261"/>
                  </a:lnTo>
                  <a:lnTo>
                    <a:pt x="641" y="261"/>
                  </a:lnTo>
                  <a:lnTo>
                    <a:pt x="594" y="261"/>
                  </a:lnTo>
                  <a:lnTo>
                    <a:pt x="594" y="261"/>
                  </a:lnTo>
                  <a:lnTo>
                    <a:pt x="587" y="261"/>
                  </a:lnTo>
                  <a:lnTo>
                    <a:pt x="582" y="261"/>
                  </a:lnTo>
                  <a:lnTo>
                    <a:pt x="582" y="261"/>
                  </a:lnTo>
                  <a:lnTo>
                    <a:pt x="582" y="261"/>
                  </a:lnTo>
                  <a:lnTo>
                    <a:pt x="582" y="266"/>
                  </a:lnTo>
                  <a:lnTo>
                    <a:pt x="582" y="273"/>
                  </a:lnTo>
                  <a:lnTo>
                    <a:pt x="582" y="273"/>
                  </a:lnTo>
                  <a:lnTo>
                    <a:pt x="570" y="273"/>
                  </a:lnTo>
                  <a:lnTo>
                    <a:pt x="570" y="273"/>
                  </a:lnTo>
                  <a:lnTo>
                    <a:pt x="570" y="261"/>
                  </a:lnTo>
                  <a:lnTo>
                    <a:pt x="570" y="261"/>
                  </a:lnTo>
                  <a:lnTo>
                    <a:pt x="568" y="259"/>
                  </a:lnTo>
                  <a:lnTo>
                    <a:pt x="563" y="261"/>
                  </a:lnTo>
                  <a:lnTo>
                    <a:pt x="561" y="261"/>
                  </a:lnTo>
                  <a:lnTo>
                    <a:pt x="558" y="261"/>
                  </a:lnTo>
                  <a:lnTo>
                    <a:pt x="558" y="261"/>
                  </a:lnTo>
                  <a:lnTo>
                    <a:pt x="558" y="259"/>
                  </a:lnTo>
                  <a:lnTo>
                    <a:pt x="558" y="254"/>
                  </a:lnTo>
                  <a:lnTo>
                    <a:pt x="558" y="252"/>
                  </a:lnTo>
                  <a:lnTo>
                    <a:pt x="558" y="249"/>
                  </a:lnTo>
                  <a:lnTo>
                    <a:pt x="558" y="249"/>
                  </a:lnTo>
                  <a:lnTo>
                    <a:pt x="556" y="247"/>
                  </a:lnTo>
                  <a:lnTo>
                    <a:pt x="551" y="247"/>
                  </a:lnTo>
                  <a:lnTo>
                    <a:pt x="547" y="249"/>
                  </a:lnTo>
                  <a:lnTo>
                    <a:pt x="547" y="249"/>
                  </a:lnTo>
                  <a:lnTo>
                    <a:pt x="547" y="261"/>
                  </a:lnTo>
                  <a:lnTo>
                    <a:pt x="547" y="261"/>
                  </a:lnTo>
                  <a:lnTo>
                    <a:pt x="547" y="266"/>
                  </a:lnTo>
                  <a:lnTo>
                    <a:pt x="547" y="273"/>
                  </a:lnTo>
                  <a:lnTo>
                    <a:pt x="547" y="273"/>
                  </a:lnTo>
                  <a:lnTo>
                    <a:pt x="535" y="273"/>
                  </a:lnTo>
                  <a:lnTo>
                    <a:pt x="535" y="273"/>
                  </a:lnTo>
                  <a:lnTo>
                    <a:pt x="535" y="266"/>
                  </a:lnTo>
                  <a:lnTo>
                    <a:pt x="535" y="261"/>
                  </a:lnTo>
                  <a:lnTo>
                    <a:pt x="535" y="261"/>
                  </a:lnTo>
                  <a:lnTo>
                    <a:pt x="535" y="249"/>
                  </a:lnTo>
                  <a:lnTo>
                    <a:pt x="535" y="249"/>
                  </a:lnTo>
                  <a:lnTo>
                    <a:pt x="523" y="249"/>
                  </a:lnTo>
                  <a:lnTo>
                    <a:pt x="523" y="249"/>
                  </a:lnTo>
                  <a:lnTo>
                    <a:pt x="511" y="249"/>
                  </a:lnTo>
                  <a:lnTo>
                    <a:pt x="511" y="249"/>
                  </a:lnTo>
                  <a:lnTo>
                    <a:pt x="500" y="249"/>
                  </a:lnTo>
                  <a:lnTo>
                    <a:pt x="500" y="249"/>
                  </a:lnTo>
                  <a:lnTo>
                    <a:pt x="500" y="261"/>
                  </a:lnTo>
                  <a:lnTo>
                    <a:pt x="500" y="261"/>
                  </a:lnTo>
                  <a:lnTo>
                    <a:pt x="488" y="261"/>
                  </a:lnTo>
                  <a:lnTo>
                    <a:pt x="488" y="261"/>
                  </a:lnTo>
                  <a:lnTo>
                    <a:pt x="488" y="254"/>
                  </a:lnTo>
                  <a:lnTo>
                    <a:pt x="488" y="249"/>
                  </a:lnTo>
                  <a:lnTo>
                    <a:pt x="488" y="249"/>
                  </a:lnTo>
                  <a:lnTo>
                    <a:pt x="485" y="247"/>
                  </a:lnTo>
                  <a:lnTo>
                    <a:pt x="481" y="247"/>
                  </a:lnTo>
                  <a:lnTo>
                    <a:pt x="474" y="249"/>
                  </a:lnTo>
                  <a:lnTo>
                    <a:pt x="474" y="249"/>
                  </a:lnTo>
                  <a:lnTo>
                    <a:pt x="474" y="223"/>
                  </a:lnTo>
                  <a:lnTo>
                    <a:pt x="474" y="223"/>
                  </a:lnTo>
                  <a:lnTo>
                    <a:pt x="474" y="212"/>
                  </a:lnTo>
                  <a:lnTo>
                    <a:pt x="474" y="212"/>
                  </a:lnTo>
                  <a:lnTo>
                    <a:pt x="476" y="207"/>
                  </a:lnTo>
                  <a:lnTo>
                    <a:pt x="474" y="200"/>
                  </a:lnTo>
                  <a:lnTo>
                    <a:pt x="474" y="200"/>
                  </a:lnTo>
                  <a:lnTo>
                    <a:pt x="462" y="200"/>
                  </a:lnTo>
                  <a:lnTo>
                    <a:pt x="462" y="200"/>
                  </a:lnTo>
                  <a:lnTo>
                    <a:pt x="462" y="212"/>
                  </a:lnTo>
                  <a:lnTo>
                    <a:pt x="462" y="212"/>
                  </a:lnTo>
                  <a:lnTo>
                    <a:pt x="462" y="223"/>
                  </a:lnTo>
                  <a:lnTo>
                    <a:pt x="462" y="223"/>
                  </a:lnTo>
                  <a:lnTo>
                    <a:pt x="462" y="235"/>
                  </a:lnTo>
                  <a:lnTo>
                    <a:pt x="462" y="235"/>
                  </a:lnTo>
                  <a:lnTo>
                    <a:pt x="464" y="242"/>
                  </a:lnTo>
                  <a:lnTo>
                    <a:pt x="462" y="249"/>
                  </a:lnTo>
                  <a:lnTo>
                    <a:pt x="462" y="249"/>
                  </a:lnTo>
                  <a:lnTo>
                    <a:pt x="462" y="249"/>
                  </a:lnTo>
                  <a:lnTo>
                    <a:pt x="457" y="249"/>
                  </a:lnTo>
                  <a:lnTo>
                    <a:pt x="450" y="249"/>
                  </a:lnTo>
                  <a:lnTo>
                    <a:pt x="450" y="249"/>
                  </a:lnTo>
                  <a:lnTo>
                    <a:pt x="450" y="252"/>
                  </a:lnTo>
                  <a:lnTo>
                    <a:pt x="450" y="254"/>
                  </a:lnTo>
                  <a:lnTo>
                    <a:pt x="450" y="261"/>
                  </a:lnTo>
                  <a:lnTo>
                    <a:pt x="450" y="261"/>
                  </a:lnTo>
                  <a:lnTo>
                    <a:pt x="426" y="261"/>
                  </a:lnTo>
                  <a:lnTo>
                    <a:pt x="426" y="261"/>
                  </a:lnTo>
                  <a:lnTo>
                    <a:pt x="426" y="212"/>
                  </a:lnTo>
                  <a:lnTo>
                    <a:pt x="426" y="212"/>
                  </a:lnTo>
                  <a:lnTo>
                    <a:pt x="426" y="200"/>
                  </a:lnTo>
                  <a:lnTo>
                    <a:pt x="426" y="200"/>
                  </a:lnTo>
                  <a:lnTo>
                    <a:pt x="426" y="195"/>
                  </a:lnTo>
                  <a:lnTo>
                    <a:pt x="426" y="188"/>
                  </a:lnTo>
                  <a:lnTo>
                    <a:pt x="426" y="188"/>
                  </a:lnTo>
                  <a:lnTo>
                    <a:pt x="424" y="188"/>
                  </a:lnTo>
                  <a:lnTo>
                    <a:pt x="422" y="188"/>
                  </a:lnTo>
                  <a:lnTo>
                    <a:pt x="415" y="188"/>
                  </a:lnTo>
                  <a:lnTo>
                    <a:pt x="415" y="188"/>
                  </a:lnTo>
                  <a:lnTo>
                    <a:pt x="415" y="165"/>
                  </a:lnTo>
                  <a:lnTo>
                    <a:pt x="415" y="165"/>
                  </a:lnTo>
                  <a:lnTo>
                    <a:pt x="415" y="153"/>
                  </a:lnTo>
                  <a:lnTo>
                    <a:pt x="415" y="153"/>
                  </a:lnTo>
                  <a:lnTo>
                    <a:pt x="415" y="141"/>
                  </a:lnTo>
                  <a:lnTo>
                    <a:pt x="415" y="141"/>
                  </a:lnTo>
                  <a:lnTo>
                    <a:pt x="415" y="134"/>
                  </a:lnTo>
                  <a:lnTo>
                    <a:pt x="415" y="129"/>
                  </a:lnTo>
                  <a:lnTo>
                    <a:pt x="415" y="129"/>
                  </a:lnTo>
                  <a:lnTo>
                    <a:pt x="412" y="129"/>
                  </a:lnTo>
                  <a:lnTo>
                    <a:pt x="410" y="129"/>
                  </a:lnTo>
                  <a:lnTo>
                    <a:pt x="403" y="129"/>
                  </a:lnTo>
                  <a:lnTo>
                    <a:pt x="403" y="129"/>
                  </a:lnTo>
                  <a:lnTo>
                    <a:pt x="403" y="141"/>
                  </a:lnTo>
                  <a:lnTo>
                    <a:pt x="403" y="141"/>
                  </a:lnTo>
                  <a:lnTo>
                    <a:pt x="403" y="165"/>
                  </a:lnTo>
                  <a:lnTo>
                    <a:pt x="403" y="165"/>
                  </a:lnTo>
                  <a:lnTo>
                    <a:pt x="398" y="165"/>
                  </a:lnTo>
                  <a:lnTo>
                    <a:pt x="393" y="165"/>
                  </a:lnTo>
                  <a:lnTo>
                    <a:pt x="391" y="165"/>
                  </a:lnTo>
                  <a:lnTo>
                    <a:pt x="391" y="165"/>
                  </a:lnTo>
                  <a:lnTo>
                    <a:pt x="391" y="172"/>
                  </a:lnTo>
                  <a:lnTo>
                    <a:pt x="391" y="176"/>
                  </a:lnTo>
                  <a:lnTo>
                    <a:pt x="391" y="176"/>
                  </a:lnTo>
                  <a:lnTo>
                    <a:pt x="391" y="188"/>
                  </a:lnTo>
                  <a:lnTo>
                    <a:pt x="391" y="188"/>
                  </a:lnTo>
                  <a:lnTo>
                    <a:pt x="391" y="200"/>
                  </a:lnTo>
                  <a:lnTo>
                    <a:pt x="391" y="200"/>
                  </a:lnTo>
                  <a:lnTo>
                    <a:pt x="386" y="200"/>
                  </a:lnTo>
                  <a:lnTo>
                    <a:pt x="382" y="200"/>
                  </a:lnTo>
                  <a:lnTo>
                    <a:pt x="379" y="200"/>
                  </a:lnTo>
                  <a:lnTo>
                    <a:pt x="379" y="200"/>
                  </a:lnTo>
                  <a:lnTo>
                    <a:pt x="379" y="207"/>
                  </a:lnTo>
                  <a:lnTo>
                    <a:pt x="379" y="212"/>
                  </a:lnTo>
                  <a:lnTo>
                    <a:pt x="379" y="212"/>
                  </a:lnTo>
                  <a:lnTo>
                    <a:pt x="379" y="223"/>
                  </a:lnTo>
                  <a:lnTo>
                    <a:pt x="379" y="223"/>
                  </a:lnTo>
                  <a:lnTo>
                    <a:pt x="379" y="235"/>
                  </a:lnTo>
                  <a:lnTo>
                    <a:pt x="379" y="235"/>
                  </a:lnTo>
                  <a:lnTo>
                    <a:pt x="379" y="261"/>
                  </a:lnTo>
                  <a:lnTo>
                    <a:pt x="379" y="261"/>
                  </a:lnTo>
                  <a:lnTo>
                    <a:pt x="375" y="261"/>
                  </a:lnTo>
                  <a:lnTo>
                    <a:pt x="368" y="261"/>
                  </a:lnTo>
                  <a:lnTo>
                    <a:pt x="368" y="261"/>
                  </a:lnTo>
                  <a:lnTo>
                    <a:pt x="363" y="261"/>
                  </a:lnTo>
                  <a:lnTo>
                    <a:pt x="356" y="261"/>
                  </a:lnTo>
                  <a:lnTo>
                    <a:pt x="356" y="261"/>
                  </a:lnTo>
                  <a:lnTo>
                    <a:pt x="349" y="259"/>
                  </a:lnTo>
                  <a:lnTo>
                    <a:pt x="344" y="261"/>
                  </a:lnTo>
                  <a:lnTo>
                    <a:pt x="344" y="261"/>
                  </a:lnTo>
                  <a:lnTo>
                    <a:pt x="344" y="266"/>
                  </a:lnTo>
                  <a:lnTo>
                    <a:pt x="344" y="271"/>
                  </a:lnTo>
                  <a:lnTo>
                    <a:pt x="344" y="273"/>
                  </a:lnTo>
                  <a:lnTo>
                    <a:pt x="344" y="273"/>
                  </a:lnTo>
                  <a:lnTo>
                    <a:pt x="337" y="273"/>
                  </a:lnTo>
                  <a:lnTo>
                    <a:pt x="332" y="273"/>
                  </a:lnTo>
                  <a:lnTo>
                    <a:pt x="332" y="273"/>
                  </a:lnTo>
                  <a:lnTo>
                    <a:pt x="320" y="273"/>
                  </a:lnTo>
                  <a:lnTo>
                    <a:pt x="320" y="273"/>
                  </a:lnTo>
                  <a:lnTo>
                    <a:pt x="313" y="273"/>
                  </a:lnTo>
                  <a:lnTo>
                    <a:pt x="309" y="273"/>
                  </a:lnTo>
                  <a:lnTo>
                    <a:pt x="309" y="273"/>
                  </a:lnTo>
                  <a:lnTo>
                    <a:pt x="309" y="266"/>
                  </a:lnTo>
                  <a:lnTo>
                    <a:pt x="309" y="261"/>
                  </a:lnTo>
                  <a:lnTo>
                    <a:pt x="309" y="261"/>
                  </a:lnTo>
                  <a:lnTo>
                    <a:pt x="302" y="261"/>
                  </a:lnTo>
                  <a:lnTo>
                    <a:pt x="297" y="261"/>
                  </a:lnTo>
                  <a:lnTo>
                    <a:pt x="297" y="261"/>
                  </a:lnTo>
                  <a:lnTo>
                    <a:pt x="297" y="254"/>
                  </a:lnTo>
                  <a:lnTo>
                    <a:pt x="297" y="249"/>
                  </a:lnTo>
                  <a:lnTo>
                    <a:pt x="297" y="249"/>
                  </a:lnTo>
                  <a:lnTo>
                    <a:pt x="290" y="247"/>
                  </a:lnTo>
                  <a:lnTo>
                    <a:pt x="285" y="249"/>
                  </a:lnTo>
                  <a:lnTo>
                    <a:pt x="285" y="249"/>
                  </a:lnTo>
                  <a:lnTo>
                    <a:pt x="273" y="249"/>
                  </a:lnTo>
                  <a:lnTo>
                    <a:pt x="273" y="249"/>
                  </a:lnTo>
                  <a:lnTo>
                    <a:pt x="266" y="247"/>
                  </a:lnTo>
                  <a:lnTo>
                    <a:pt x="264" y="247"/>
                  </a:lnTo>
                  <a:lnTo>
                    <a:pt x="262" y="249"/>
                  </a:lnTo>
                  <a:lnTo>
                    <a:pt x="262" y="249"/>
                  </a:lnTo>
                  <a:lnTo>
                    <a:pt x="259" y="252"/>
                  </a:lnTo>
                  <a:lnTo>
                    <a:pt x="262" y="254"/>
                  </a:lnTo>
                  <a:lnTo>
                    <a:pt x="262" y="261"/>
                  </a:lnTo>
                  <a:lnTo>
                    <a:pt x="262" y="261"/>
                  </a:lnTo>
                  <a:lnTo>
                    <a:pt x="262" y="266"/>
                  </a:lnTo>
                  <a:lnTo>
                    <a:pt x="262" y="271"/>
                  </a:lnTo>
                  <a:lnTo>
                    <a:pt x="262" y="273"/>
                  </a:lnTo>
                  <a:lnTo>
                    <a:pt x="262" y="273"/>
                  </a:lnTo>
                  <a:lnTo>
                    <a:pt x="259" y="273"/>
                  </a:lnTo>
                  <a:lnTo>
                    <a:pt x="254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24" y="273"/>
                  </a:lnTo>
                  <a:lnTo>
                    <a:pt x="224" y="273"/>
                  </a:lnTo>
                  <a:lnTo>
                    <a:pt x="212" y="273"/>
                  </a:lnTo>
                  <a:lnTo>
                    <a:pt x="212" y="273"/>
                  </a:lnTo>
                  <a:lnTo>
                    <a:pt x="207" y="273"/>
                  </a:lnTo>
                  <a:lnTo>
                    <a:pt x="200" y="273"/>
                  </a:lnTo>
                  <a:lnTo>
                    <a:pt x="200" y="273"/>
                  </a:lnTo>
                  <a:lnTo>
                    <a:pt x="200" y="266"/>
                  </a:lnTo>
                  <a:lnTo>
                    <a:pt x="200" y="261"/>
                  </a:lnTo>
                  <a:lnTo>
                    <a:pt x="200" y="261"/>
                  </a:lnTo>
                  <a:lnTo>
                    <a:pt x="196" y="259"/>
                  </a:lnTo>
                  <a:lnTo>
                    <a:pt x="188" y="261"/>
                  </a:lnTo>
                  <a:lnTo>
                    <a:pt x="188" y="261"/>
                  </a:lnTo>
                  <a:lnTo>
                    <a:pt x="177" y="261"/>
                  </a:lnTo>
                  <a:lnTo>
                    <a:pt x="177" y="261"/>
                  </a:lnTo>
                  <a:lnTo>
                    <a:pt x="153" y="261"/>
                  </a:lnTo>
                  <a:lnTo>
                    <a:pt x="153" y="261"/>
                  </a:lnTo>
                  <a:lnTo>
                    <a:pt x="153" y="254"/>
                  </a:lnTo>
                  <a:lnTo>
                    <a:pt x="153" y="252"/>
                  </a:lnTo>
                  <a:lnTo>
                    <a:pt x="153" y="249"/>
                  </a:lnTo>
                  <a:lnTo>
                    <a:pt x="153" y="249"/>
                  </a:lnTo>
                  <a:lnTo>
                    <a:pt x="141" y="249"/>
                  </a:lnTo>
                  <a:lnTo>
                    <a:pt x="141" y="249"/>
                  </a:lnTo>
                  <a:lnTo>
                    <a:pt x="130" y="249"/>
                  </a:lnTo>
                  <a:lnTo>
                    <a:pt x="130" y="249"/>
                  </a:lnTo>
                  <a:lnTo>
                    <a:pt x="118" y="249"/>
                  </a:lnTo>
                  <a:lnTo>
                    <a:pt x="118" y="249"/>
                  </a:lnTo>
                  <a:lnTo>
                    <a:pt x="106" y="249"/>
                  </a:lnTo>
                  <a:lnTo>
                    <a:pt x="106" y="249"/>
                  </a:lnTo>
                  <a:lnTo>
                    <a:pt x="99" y="247"/>
                  </a:lnTo>
                  <a:lnTo>
                    <a:pt x="94" y="249"/>
                  </a:lnTo>
                  <a:lnTo>
                    <a:pt x="94" y="249"/>
                  </a:lnTo>
                  <a:lnTo>
                    <a:pt x="94" y="249"/>
                  </a:lnTo>
                  <a:lnTo>
                    <a:pt x="94" y="254"/>
                  </a:lnTo>
                  <a:lnTo>
                    <a:pt x="94" y="261"/>
                  </a:lnTo>
                  <a:lnTo>
                    <a:pt x="94" y="261"/>
                  </a:lnTo>
                  <a:lnTo>
                    <a:pt x="82" y="261"/>
                  </a:lnTo>
                  <a:lnTo>
                    <a:pt x="82" y="261"/>
                  </a:lnTo>
                  <a:lnTo>
                    <a:pt x="75" y="261"/>
                  </a:lnTo>
                  <a:lnTo>
                    <a:pt x="71" y="261"/>
                  </a:lnTo>
                  <a:lnTo>
                    <a:pt x="71" y="261"/>
                  </a:lnTo>
                  <a:lnTo>
                    <a:pt x="71" y="254"/>
                  </a:lnTo>
                  <a:lnTo>
                    <a:pt x="71" y="252"/>
                  </a:lnTo>
                  <a:lnTo>
                    <a:pt x="71" y="249"/>
                  </a:lnTo>
                  <a:lnTo>
                    <a:pt x="71" y="249"/>
                  </a:lnTo>
                  <a:lnTo>
                    <a:pt x="68" y="247"/>
                  </a:lnTo>
                  <a:lnTo>
                    <a:pt x="64" y="247"/>
                  </a:lnTo>
                  <a:lnTo>
                    <a:pt x="59" y="249"/>
                  </a:lnTo>
                  <a:lnTo>
                    <a:pt x="59" y="249"/>
                  </a:lnTo>
                  <a:lnTo>
                    <a:pt x="59" y="247"/>
                  </a:lnTo>
                  <a:lnTo>
                    <a:pt x="59" y="242"/>
                  </a:lnTo>
                  <a:lnTo>
                    <a:pt x="59" y="235"/>
                  </a:lnTo>
                  <a:lnTo>
                    <a:pt x="59" y="235"/>
                  </a:lnTo>
                  <a:lnTo>
                    <a:pt x="57" y="235"/>
                  </a:lnTo>
                  <a:lnTo>
                    <a:pt x="52" y="235"/>
                  </a:lnTo>
                  <a:lnTo>
                    <a:pt x="47" y="235"/>
                  </a:lnTo>
                  <a:lnTo>
                    <a:pt x="47" y="235"/>
                  </a:lnTo>
                  <a:lnTo>
                    <a:pt x="47" y="249"/>
                  </a:lnTo>
                  <a:lnTo>
                    <a:pt x="47" y="249"/>
                  </a:lnTo>
                  <a:lnTo>
                    <a:pt x="47" y="273"/>
                  </a:lnTo>
                  <a:lnTo>
                    <a:pt x="47" y="273"/>
                  </a:lnTo>
                  <a:lnTo>
                    <a:pt x="0" y="273"/>
                  </a:lnTo>
                  <a:lnTo>
                    <a:pt x="0" y="273"/>
                  </a:lnTo>
                  <a:lnTo>
                    <a:pt x="0" y="320"/>
                  </a:lnTo>
                  <a:lnTo>
                    <a:pt x="0" y="320"/>
                  </a:lnTo>
                  <a:lnTo>
                    <a:pt x="0" y="344"/>
                  </a:lnTo>
                  <a:lnTo>
                    <a:pt x="0" y="344"/>
                  </a:lnTo>
                  <a:lnTo>
                    <a:pt x="12" y="344"/>
                  </a:lnTo>
                  <a:lnTo>
                    <a:pt x="12" y="344"/>
                  </a:lnTo>
                  <a:lnTo>
                    <a:pt x="35" y="344"/>
                  </a:lnTo>
                  <a:lnTo>
                    <a:pt x="35" y="344"/>
                  </a:lnTo>
                  <a:lnTo>
                    <a:pt x="82" y="344"/>
                  </a:lnTo>
                  <a:lnTo>
                    <a:pt x="82" y="344"/>
                  </a:lnTo>
                  <a:lnTo>
                    <a:pt x="106" y="344"/>
                  </a:lnTo>
                  <a:lnTo>
                    <a:pt x="106" y="344"/>
                  </a:lnTo>
                  <a:lnTo>
                    <a:pt x="118" y="344"/>
                  </a:lnTo>
                  <a:lnTo>
                    <a:pt x="118" y="344"/>
                  </a:lnTo>
                  <a:lnTo>
                    <a:pt x="141" y="344"/>
                  </a:lnTo>
                  <a:lnTo>
                    <a:pt x="141" y="344"/>
                  </a:lnTo>
                  <a:lnTo>
                    <a:pt x="165" y="344"/>
                  </a:lnTo>
                  <a:lnTo>
                    <a:pt x="165" y="344"/>
                  </a:lnTo>
                  <a:lnTo>
                    <a:pt x="177" y="344"/>
                  </a:lnTo>
                  <a:lnTo>
                    <a:pt x="177" y="344"/>
                  </a:lnTo>
                  <a:lnTo>
                    <a:pt x="200" y="344"/>
                  </a:lnTo>
                  <a:lnTo>
                    <a:pt x="200" y="344"/>
                  </a:lnTo>
                  <a:lnTo>
                    <a:pt x="212" y="344"/>
                  </a:lnTo>
                  <a:lnTo>
                    <a:pt x="212" y="344"/>
                  </a:lnTo>
                  <a:lnTo>
                    <a:pt x="238" y="344"/>
                  </a:lnTo>
                  <a:lnTo>
                    <a:pt x="238" y="344"/>
                  </a:lnTo>
                  <a:lnTo>
                    <a:pt x="250" y="344"/>
                  </a:lnTo>
                  <a:lnTo>
                    <a:pt x="250" y="344"/>
                  </a:lnTo>
                  <a:lnTo>
                    <a:pt x="273" y="344"/>
                  </a:lnTo>
                  <a:lnTo>
                    <a:pt x="273" y="344"/>
                  </a:lnTo>
                  <a:lnTo>
                    <a:pt x="285" y="344"/>
                  </a:lnTo>
                  <a:lnTo>
                    <a:pt x="285" y="344"/>
                  </a:lnTo>
                  <a:lnTo>
                    <a:pt x="309" y="344"/>
                  </a:lnTo>
                  <a:lnTo>
                    <a:pt x="309" y="344"/>
                  </a:lnTo>
                  <a:lnTo>
                    <a:pt x="320" y="344"/>
                  </a:lnTo>
                  <a:lnTo>
                    <a:pt x="320" y="344"/>
                  </a:lnTo>
                  <a:lnTo>
                    <a:pt x="344" y="344"/>
                  </a:lnTo>
                  <a:lnTo>
                    <a:pt x="344" y="344"/>
                  </a:lnTo>
                  <a:lnTo>
                    <a:pt x="356" y="344"/>
                  </a:lnTo>
                  <a:lnTo>
                    <a:pt x="356" y="344"/>
                  </a:lnTo>
                  <a:lnTo>
                    <a:pt x="379" y="344"/>
                  </a:lnTo>
                  <a:lnTo>
                    <a:pt x="379" y="344"/>
                  </a:lnTo>
                  <a:lnTo>
                    <a:pt x="391" y="344"/>
                  </a:lnTo>
                  <a:lnTo>
                    <a:pt x="391" y="344"/>
                  </a:lnTo>
                  <a:lnTo>
                    <a:pt x="438" y="344"/>
                  </a:lnTo>
                  <a:lnTo>
                    <a:pt x="438" y="344"/>
                  </a:lnTo>
                  <a:lnTo>
                    <a:pt x="488" y="344"/>
                  </a:lnTo>
                  <a:lnTo>
                    <a:pt x="488" y="344"/>
                  </a:lnTo>
                  <a:lnTo>
                    <a:pt x="511" y="344"/>
                  </a:lnTo>
                  <a:lnTo>
                    <a:pt x="511" y="344"/>
                  </a:lnTo>
                  <a:lnTo>
                    <a:pt x="523" y="344"/>
                  </a:lnTo>
                  <a:lnTo>
                    <a:pt x="523" y="344"/>
                  </a:lnTo>
                  <a:lnTo>
                    <a:pt x="547" y="344"/>
                  </a:lnTo>
                  <a:lnTo>
                    <a:pt x="547" y="344"/>
                  </a:lnTo>
                  <a:lnTo>
                    <a:pt x="558" y="344"/>
                  </a:lnTo>
                  <a:lnTo>
                    <a:pt x="558" y="344"/>
                  </a:lnTo>
                  <a:lnTo>
                    <a:pt x="582" y="344"/>
                  </a:lnTo>
                  <a:lnTo>
                    <a:pt x="582" y="344"/>
                  </a:lnTo>
                  <a:lnTo>
                    <a:pt x="594" y="344"/>
                  </a:lnTo>
                  <a:lnTo>
                    <a:pt x="594" y="344"/>
                  </a:lnTo>
                  <a:lnTo>
                    <a:pt x="617" y="344"/>
                  </a:lnTo>
                  <a:lnTo>
                    <a:pt x="617" y="344"/>
                  </a:lnTo>
                  <a:lnTo>
                    <a:pt x="629" y="344"/>
                  </a:lnTo>
                  <a:lnTo>
                    <a:pt x="629" y="344"/>
                  </a:lnTo>
                  <a:lnTo>
                    <a:pt x="653" y="344"/>
                  </a:lnTo>
                  <a:lnTo>
                    <a:pt x="653" y="344"/>
                  </a:lnTo>
                  <a:lnTo>
                    <a:pt x="664" y="344"/>
                  </a:lnTo>
                  <a:lnTo>
                    <a:pt x="664" y="344"/>
                  </a:lnTo>
                  <a:lnTo>
                    <a:pt x="712" y="344"/>
                  </a:lnTo>
                  <a:lnTo>
                    <a:pt x="712" y="344"/>
                  </a:lnTo>
                  <a:lnTo>
                    <a:pt x="723" y="344"/>
                  </a:lnTo>
                  <a:lnTo>
                    <a:pt x="723" y="344"/>
                  </a:lnTo>
                  <a:lnTo>
                    <a:pt x="749" y="344"/>
                  </a:lnTo>
                  <a:lnTo>
                    <a:pt x="749" y="344"/>
                  </a:lnTo>
                  <a:lnTo>
                    <a:pt x="761" y="344"/>
                  </a:lnTo>
                  <a:lnTo>
                    <a:pt x="761" y="344"/>
                  </a:lnTo>
                  <a:lnTo>
                    <a:pt x="785" y="344"/>
                  </a:lnTo>
                  <a:lnTo>
                    <a:pt x="785" y="344"/>
                  </a:lnTo>
                  <a:lnTo>
                    <a:pt x="796" y="344"/>
                  </a:lnTo>
                  <a:lnTo>
                    <a:pt x="796" y="344"/>
                  </a:lnTo>
                  <a:lnTo>
                    <a:pt x="820" y="344"/>
                  </a:lnTo>
                  <a:lnTo>
                    <a:pt x="820" y="344"/>
                  </a:lnTo>
                  <a:lnTo>
                    <a:pt x="832" y="344"/>
                  </a:lnTo>
                  <a:lnTo>
                    <a:pt x="832" y="344"/>
                  </a:lnTo>
                  <a:lnTo>
                    <a:pt x="855" y="344"/>
                  </a:lnTo>
                  <a:lnTo>
                    <a:pt x="855" y="344"/>
                  </a:lnTo>
                  <a:lnTo>
                    <a:pt x="867" y="344"/>
                  </a:lnTo>
                  <a:lnTo>
                    <a:pt x="867" y="344"/>
                  </a:lnTo>
                  <a:lnTo>
                    <a:pt x="891" y="344"/>
                  </a:lnTo>
                  <a:lnTo>
                    <a:pt x="891" y="344"/>
                  </a:lnTo>
                  <a:lnTo>
                    <a:pt x="902" y="344"/>
                  </a:lnTo>
                  <a:lnTo>
                    <a:pt x="902" y="344"/>
                  </a:lnTo>
                  <a:lnTo>
                    <a:pt x="926" y="344"/>
                  </a:lnTo>
                  <a:lnTo>
                    <a:pt x="926" y="344"/>
                  </a:lnTo>
                  <a:lnTo>
                    <a:pt x="938" y="344"/>
                  </a:lnTo>
                  <a:lnTo>
                    <a:pt x="938" y="344"/>
                  </a:lnTo>
                  <a:lnTo>
                    <a:pt x="987" y="344"/>
                  </a:lnTo>
                  <a:lnTo>
                    <a:pt x="987" y="344"/>
                  </a:lnTo>
                  <a:lnTo>
                    <a:pt x="999" y="344"/>
                  </a:lnTo>
                  <a:lnTo>
                    <a:pt x="999" y="344"/>
                  </a:lnTo>
                  <a:lnTo>
                    <a:pt x="1023" y="344"/>
                  </a:lnTo>
                  <a:lnTo>
                    <a:pt x="1023" y="344"/>
                  </a:lnTo>
                  <a:lnTo>
                    <a:pt x="1034" y="344"/>
                  </a:lnTo>
                  <a:lnTo>
                    <a:pt x="1034" y="344"/>
                  </a:lnTo>
                  <a:lnTo>
                    <a:pt x="1058" y="344"/>
                  </a:lnTo>
                  <a:lnTo>
                    <a:pt x="1058" y="344"/>
                  </a:lnTo>
                  <a:lnTo>
                    <a:pt x="1070" y="344"/>
                  </a:lnTo>
                  <a:lnTo>
                    <a:pt x="1070" y="344"/>
                  </a:lnTo>
                  <a:lnTo>
                    <a:pt x="1093" y="344"/>
                  </a:lnTo>
                  <a:lnTo>
                    <a:pt x="1093" y="344"/>
                  </a:lnTo>
                  <a:lnTo>
                    <a:pt x="1105" y="344"/>
                  </a:lnTo>
                  <a:lnTo>
                    <a:pt x="1105" y="344"/>
                  </a:lnTo>
                  <a:lnTo>
                    <a:pt x="1129" y="344"/>
                  </a:lnTo>
                  <a:lnTo>
                    <a:pt x="1129" y="344"/>
                  </a:lnTo>
                  <a:lnTo>
                    <a:pt x="1140" y="344"/>
                  </a:lnTo>
                  <a:lnTo>
                    <a:pt x="1140" y="344"/>
                  </a:lnTo>
                  <a:lnTo>
                    <a:pt x="1164" y="344"/>
                  </a:lnTo>
                  <a:lnTo>
                    <a:pt x="1164" y="344"/>
                  </a:lnTo>
                  <a:lnTo>
                    <a:pt x="1176" y="344"/>
                  </a:lnTo>
                  <a:lnTo>
                    <a:pt x="1176" y="344"/>
                  </a:lnTo>
                  <a:lnTo>
                    <a:pt x="1199" y="344"/>
                  </a:lnTo>
                  <a:lnTo>
                    <a:pt x="1199" y="344"/>
                  </a:lnTo>
                  <a:lnTo>
                    <a:pt x="1211" y="344"/>
                  </a:lnTo>
                  <a:lnTo>
                    <a:pt x="1211" y="344"/>
                  </a:lnTo>
                  <a:lnTo>
                    <a:pt x="1261" y="344"/>
                  </a:lnTo>
                  <a:lnTo>
                    <a:pt x="1261" y="344"/>
                  </a:lnTo>
                  <a:lnTo>
                    <a:pt x="1272" y="344"/>
                  </a:lnTo>
                  <a:lnTo>
                    <a:pt x="1272" y="344"/>
                  </a:lnTo>
                  <a:lnTo>
                    <a:pt x="1296" y="344"/>
                  </a:lnTo>
                  <a:lnTo>
                    <a:pt x="1296" y="344"/>
                  </a:lnTo>
                  <a:lnTo>
                    <a:pt x="1308" y="344"/>
                  </a:lnTo>
                  <a:lnTo>
                    <a:pt x="1308" y="344"/>
                  </a:lnTo>
                  <a:lnTo>
                    <a:pt x="1331" y="344"/>
                  </a:lnTo>
                  <a:lnTo>
                    <a:pt x="1331" y="344"/>
                  </a:lnTo>
                  <a:lnTo>
                    <a:pt x="1343" y="344"/>
                  </a:lnTo>
                  <a:lnTo>
                    <a:pt x="1343" y="344"/>
                  </a:lnTo>
                  <a:lnTo>
                    <a:pt x="1367" y="344"/>
                  </a:lnTo>
                  <a:lnTo>
                    <a:pt x="1367" y="344"/>
                  </a:lnTo>
                  <a:lnTo>
                    <a:pt x="1378" y="344"/>
                  </a:lnTo>
                  <a:lnTo>
                    <a:pt x="1378" y="344"/>
                  </a:lnTo>
                  <a:lnTo>
                    <a:pt x="1402" y="344"/>
                  </a:lnTo>
                  <a:lnTo>
                    <a:pt x="1402" y="344"/>
                  </a:lnTo>
                  <a:lnTo>
                    <a:pt x="1414" y="344"/>
                  </a:lnTo>
                  <a:lnTo>
                    <a:pt x="1414" y="344"/>
                  </a:lnTo>
                  <a:lnTo>
                    <a:pt x="1437" y="344"/>
                  </a:lnTo>
                  <a:lnTo>
                    <a:pt x="1437" y="344"/>
                  </a:lnTo>
                  <a:lnTo>
                    <a:pt x="1449" y="344"/>
                  </a:lnTo>
                  <a:lnTo>
                    <a:pt x="1449" y="344"/>
                  </a:lnTo>
                  <a:lnTo>
                    <a:pt x="1475" y="344"/>
                  </a:lnTo>
                  <a:lnTo>
                    <a:pt x="1475" y="344"/>
                  </a:lnTo>
                  <a:lnTo>
                    <a:pt x="1487" y="344"/>
                  </a:lnTo>
                  <a:lnTo>
                    <a:pt x="1487" y="344"/>
                  </a:lnTo>
                  <a:lnTo>
                    <a:pt x="1534" y="344"/>
                  </a:lnTo>
                  <a:lnTo>
                    <a:pt x="1534" y="344"/>
                  </a:lnTo>
                  <a:lnTo>
                    <a:pt x="1546" y="344"/>
                  </a:lnTo>
                  <a:lnTo>
                    <a:pt x="1546" y="344"/>
                  </a:lnTo>
                  <a:lnTo>
                    <a:pt x="1569" y="344"/>
                  </a:lnTo>
                  <a:lnTo>
                    <a:pt x="1569" y="344"/>
                  </a:lnTo>
                  <a:lnTo>
                    <a:pt x="1581" y="344"/>
                  </a:lnTo>
                  <a:lnTo>
                    <a:pt x="1581" y="344"/>
                  </a:lnTo>
                  <a:lnTo>
                    <a:pt x="1605" y="344"/>
                  </a:lnTo>
                  <a:lnTo>
                    <a:pt x="1605" y="344"/>
                  </a:lnTo>
                  <a:lnTo>
                    <a:pt x="1616" y="344"/>
                  </a:lnTo>
                  <a:lnTo>
                    <a:pt x="1616" y="344"/>
                  </a:lnTo>
                  <a:lnTo>
                    <a:pt x="1640" y="344"/>
                  </a:lnTo>
                  <a:lnTo>
                    <a:pt x="1640" y="344"/>
                  </a:lnTo>
                  <a:lnTo>
                    <a:pt x="1652" y="344"/>
                  </a:lnTo>
                  <a:lnTo>
                    <a:pt x="1652" y="344"/>
                  </a:lnTo>
                  <a:lnTo>
                    <a:pt x="1675" y="344"/>
                  </a:lnTo>
                  <a:lnTo>
                    <a:pt x="1675" y="344"/>
                  </a:lnTo>
                  <a:lnTo>
                    <a:pt x="1687" y="344"/>
                  </a:lnTo>
                  <a:lnTo>
                    <a:pt x="1687" y="344"/>
                  </a:lnTo>
                  <a:lnTo>
                    <a:pt x="1713" y="344"/>
                  </a:lnTo>
                  <a:lnTo>
                    <a:pt x="1713" y="344"/>
                  </a:lnTo>
                  <a:lnTo>
                    <a:pt x="1725" y="344"/>
                  </a:lnTo>
                  <a:lnTo>
                    <a:pt x="1725" y="344"/>
                  </a:lnTo>
                  <a:lnTo>
                    <a:pt x="1748" y="344"/>
                  </a:lnTo>
                  <a:lnTo>
                    <a:pt x="1748" y="344"/>
                  </a:lnTo>
                  <a:lnTo>
                    <a:pt x="1760" y="344"/>
                  </a:lnTo>
                  <a:lnTo>
                    <a:pt x="1760" y="344"/>
                  </a:lnTo>
                  <a:lnTo>
                    <a:pt x="1807" y="344"/>
                  </a:lnTo>
                  <a:lnTo>
                    <a:pt x="1807" y="344"/>
                  </a:lnTo>
                  <a:lnTo>
                    <a:pt x="1854" y="344"/>
                  </a:lnTo>
                  <a:lnTo>
                    <a:pt x="1854" y="344"/>
                  </a:lnTo>
                  <a:lnTo>
                    <a:pt x="1878" y="344"/>
                  </a:lnTo>
                  <a:lnTo>
                    <a:pt x="1878" y="344"/>
                  </a:lnTo>
                  <a:lnTo>
                    <a:pt x="1890" y="344"/>
                  </a:lnTo>
                  <a:lnTo>
                    <a:pt x="1890" y="344"/>
                  </a:lnTo>
                  <a:lnTo>
                    <a:pt x="1913" y="344"/>
                  </a:lnTo>
                  <a:lnTo>
                    <a:pt x="1913" y="344"/>
                  </a:lnTo>
                  <a:lnTo>
                    <a:pt x="1925" y="344"/>
                  </a:lnTo>
                  <a:lnTo>
                    <a:pt x="1925" y="344"/>
                  </a:lnTo>
                  <a:lnTo>
                    <a:pt x="1951" y="344"/>
                  </a:lnTo>
                  <a:lnTo>
                    <a:pt x="1951" y="344"/>
                  </a:lnTo>
                  <a:lnTo>
                    <a:pt x="1963" y="344"/>
                  </a:lnTo>
                  <a:lnTo>
                    <a:pt x="1963" y="344"/>
                  </a:lnTo>
                  <a:lnTo>
                    <a:pt x="1986" y="344"/>
                  </a:lnTo>
                  <a:lnTo>
                    <a:pt x="1986" y="344"/>
                  </a:lnTo>
                  <a:lnTo>
                    <a:pt x="1998" y="344"/>
                  </a:lnTo>
                  <a:lnTo>
                    <a:pt x="1998" y="344"/>
                  </a:lnTo>
                  <a:lnTo>
                    <a:pt x="2022" y="344"/>
                  </a:lnTo>
                  <a:lnTo>
                    <a:pt x="2022" y="344"/>
                  </a:lnTo>
                  <a:lnTo>
                    <a:pt x="2033" y="344"/>
                  </a:lnTo>
                  <a:lnTo>
                    <a:pt x="2033" y="344"/>
                  </a:lnTo>
                  <a:lnTo>
                    <a:pt x="2057" y="344"/>
                  </a:lnTo>
                  <a:lnTo>
                    <a:pt x="2057" y="344"/>
                  </a:lnTo>
                  <a:lnTo>
                    <a:pt x="2069" y="344"/>
                  </a:lnTo>
                  <a:lnTo>
                    <a:pt x="2069" y="344"/>
                  </a:lnTo>
                  <a:lnTo>
                    <a:pt x="2092" y="344"/>
                  </a:lnTo>
                  <a:lnTo>
                    <a:pt x="2092" y="344"/>
                  </a:lnTo>
                  <a:lnTo>
                    <a:pt x="2104" y="344"/>
                  </a:lnTo>
                  <a:lnTo>
                    <a:pt x="2104" y="344"/>
                  </a:lnTo>
                  <a:lnTo>
                    <a:pt x="2128" y="344"/>
                  </a:lnTo>
                  <a:lnTo>
                    <a:pt x="2128" y="344"/>
                  </a:lnTo>
                  <a:lnTo>
                    <a:pt x="2139" y="344"/>
                  </a:lnTo>
                  <a:lnTo>
                    <a:pt x="2139" y="344"/>
                  </a:lnTo>
                  <a:lnTo>
                    <a:pt x="2163" y="344"/>
                  </a:lnTo>
                  <a:lnTo>
                    <a:pt x="2163" y="344"/>
                  </a:lnTo>
                  <a:lnTo>
                    <a:pt x="2175" y="344"/>
                  </a:lnTo>
                  <a:lnTo>
                    <a:pt x="2175" y="344"/>
                  </a:lnTo>
                  <a:lnTo>
                    <a:pt x="2201" y="344"/>
                  </a:lnTo>
                  <a:lnTo>
                    <a:pt x="2201" y="344"/>
                  </a:lnTo>
                  <a:lnTo>
                    <a:pt x="2248" y="344"/>
                  </a:lnTo>
                  <a:lnTo>
                    <a:pt x="2248" y="344"/>
                  </a:lnTo>
                  <a:lnTo>
                    <a:pt x="2271" y="344"/>
                  </a:lnTo>
                  <a:lnTo>
                    <a:pt x="2271" y="344"/>
                  </a:lnTo>
                  <a:lnTo>
                    <a:pt x="2283" y="344"/>
                  </a:lnTo>
                  <a:lnTo>
                    <a:pt x="2283" y="344"/>
                  </a:lnTo>
                  <a:lnTo>
                    <a:pt x="2307" y="344"/>
                  </a:lnTo>
                  <a:lnTo>
                    <a:pt x="2307" y="344"/>
                  </a:lnTo>
                  <a:lnTo>
                    <a:pt x="2318" y="344"/>
                  </a:lnTo>
                  <a:lnTo>
                    <a:pt x="2318" y="344"/>
                  </a:lnTo>
                  <a:lnTo>
                    <a:pt x="2366" y="344"/>
                  </a:lnTo>
                  <a:lnTo>
                    <a:pt x="2366" y="344"/>
                  </a:lnTo>
                  <a:lnTo>
                    <a:pt x="2366" y="82"/>
                  </a:lnTo>
                  <a:close/>
                </a:path>
              </a:pathLst>
            </a:custGeom>
            <a:solidFill>
              <a:schemeClr val="accent1">
                <a:alpha val="76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ocabulary</a:t>
            </a:r>
            <a:endParaRPr lang="en-US" dirty="0"/>
          </a:p>
        </p:txBody>
      </p:sp>
      <p:cxnSp>
        <p:nvCxnSpPr>
          <p:cNvPr id="59" name="Straight Connector 58"/>
          <p:cNvCxnSpPr/>
          <p:nvPr/>
        </p:nvCxnSpPr>
        <p:spPr>
          <a:xfrm>
            <a:off x="746421" y="2271240"/>
            <a:ext cx="0" cy="2086533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Oval 123"/>
          <p:cNvSpPr/>
          <p:nvPr/>
        </p:nvSpPr>
        <p:spPr>
          <a:xfrm>
            <a:off x="1860786" y="1715078"/>
            <a:ext cx="904780" cy="904780"/>
          </a:xfrm>
          <a:prstGeom prst="ellipse">
            <a:avLst/>
          </a:prstGeom>
          <a:gradFill>
            <a:gsLst>
              <a:gs pos="0">
                <a:schemeClr val="accent1">
                  <a:alpha val="84000"/>
                </a:schemeClr>
              </a:gs>
              <a:gs pos="100000">
                <a:schemeClr val="accent2">
                  <a:alpha val="8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1" name="Content Placeholder 2"/>
          <p:cNvSpPr txBox="1">
            <a:spLocks/>
          </p:cNvSpPr>
          <p:nvPr/>
        </p:nvSpPr>
        <p:spPr>
          <a:xfrm>
            <a:off x="1251555" y="3988896"/>
            <a:ext cx="2101157" cy="368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 algn="ctr"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sz="1800" b="0" dirty="0">
                <a:latin typeface="Bebas Neue" panose="020B0606020202050201" pitchFamily="34" charset="0"/>
              </a:rPr>
              <a:t>a</a:t>
            </a:r>
            <a:r>
              <a:rPr lang="en-US" sz="1800" b="0" dirty="0" smtClean="0">
                <a:latin typeface="Bebas Neue" panose="020B0606020202050201" pitchFamily="34" charset="0"/>
              </a:rPr>
              <a:t> passport</a:t>
            </a:r>
            <a:endParaRPr lang="en-US" sz="1800" b="0" dirty="0">
              <a:latin typeface="Bebas Neue" panose="020B0606020202050201" pitchFamily="34" charset="0"/>
            </a:endParaRPr>
          </a:p>
        </p:txBody>
      </p:sp>
      <p:sp>
        <p:nvSpPr>
          <p:cNvPr id="152" name="Rectangle 151"/>
          <p:cNvSpPr/>
          <p:nvPr/>
        </p:nvSpPr>
        <p:spPr>
          <a:xfrm>
            <a:off x="1198811" y="4321206"/>
            <a:ext cx="220664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buClr>
                <a:srgbClr val="E24848"/>
              </a:buClr>
            </a:pPr>
            <a:r>
              <a:rPr lang="en-US" sz="14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paso</a:t>
            </a:r>
            <a:r>
              <a:rPr lang="sr-Latn-RS" sz="1400" noProof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š</a:t>
            </a:r>
            <a:endParaRPr lang="en-US" sz="14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95" name="Straight Connector 94"/>
          <p:cNvCxnSpPr/>
          <p:nvPr/>
        </p:nvCxnSpPr>
        <p:spPr>
          <a:xfrm>
            <a:off x="4175000" y="2349500"/>
            <a:ext cx="0" cy="252427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/>
        </p:nvSpPr>
        <p:spPr>
          <a:xfrm>
            <a:off x="3722610" y="1271270"/>
            <a:ext cx="904780" cy="904780"/>
          </a:xfrm>
          <a:prstGeom prst="ellipse">
            <a:avLst/>
          </a:prstGeom>
          <a:gradFill>
            <a:gsLst>
              <a:gs pos="0">
                <a:schemeClr val="accent1">
                  <a:alpha val="84000"/>
                </a:schemeClr>
              </a:gs>
              <a:gs pos="100000">
                <a:schemeClr val="accent2">
                  <a:alpha val="8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3" name="Content Placeholder 2"/>
          <p:cNvSpPr txBox="1">
            <a:spLocks/>
          </p:cNvSpPr>
          <p:nvPr/>
        </p:nvSpPr>
        <p:spPr>
          <a:xfrm>
            <a:off x="3148488" y="5030818"/>
            <a:ext cx="2101157" cy="368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 algn="ctr"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sz="1800" b="0" dirty="0" smtClean="0">
                <a:latin typeface="Bebas Neue" panose="020B0606020202050201" pitchFamily="34" charset="0"/>
              </a:rPr>
              <a:t>a letter</a:t>
            </a:r>
            <a:endParaRPr lang="en-US" sz="1800" b="0" dirty="0">
              <a:latin typeface="Bebas Neue" panose="020B0606020202050201" pitchFamily="34" charset="0"/>
            </a:endParaRPr>
          </a:p>
        </p:txBody>
      </p:sp>
      <p:sp>
        <p:nvSpPr>
          <p:cNvPr id="164" name="Rectangle 163"/>
          <p:cNvSpPr/>
          <p:nvPr/>
        </p:nvSpPr>
        <p:spPr>
          <a:xfrm>
            <a:off x="3095744" y="5373404"/>
            <a:ext cx="220664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buClr>
                <a:srgbClr val="E24848"/>
              </a:buClr>
            </a:pPr>
            <a:r>
              <a:rPr lang="sr-Latn-RS" sz="14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pismo</a:t>
            </a:r>
            <a:endParaRPr lang="en-US" sz="14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97" name="Straight Connector 96"/>
          <p:cNvCxnSpPr/>
          <p:nvPr/>
        </p:nvCxnSpPr>
        <p:spPr>
          <a:xfrm>
            <a:off x="6090479" y="2734925"/>
            <a:ext cx="0" cy="1389674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Oval 102"/>
          <p:cNvSpPr/>
          <p:nvPr/>
        </p:nvSpPr>
        <p:spPr>
          <a:xfrm>
            <a:off x="5633748" y="1682666"/>
            <a:ext cx="904780" cy="904780"/>
          </a:xfrm>
          <a:prstGeom prst="ellipse">
            <a:avLst/>
          </a:prstGeom>
          <a:gradFill>
            <a:gsLst>
              <a:gs pos="0">
                <a:schemeClr val="accent1">
                  <a:alpha val="84000"/>
                </a:schemeClr>
              </a:gs>
              <a:gs pos="100000">
                <a:schemeClr val="accent2">
                  <a:alpha val="8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Content Placeholder 2"/>
          <p:cNvSpPr txBox="1">
            <a:spLocks/>
          </p:cNvSpPr>
          <p:nvPr/>
        </p:nvSpPr>
        <p:spPr>
          <a:xfrm>
            <a:off x="5045421" y="4209221"/>
            <a:ext cx="2101157" cy="368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 algn="ctr"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sz="1800" b="0" dirty="0" smtClean="0">
                <a:latin typeface="Bebas Neue" panose="020B0606020202050201" pitchFamily="34" charset="0"/>
              </a:rPr>
              <a:t>a credit card</a:t>
            </a:r>
            <a:endParaRPr lang="en-US" sz="1800" b="0" dirty="0">
              <a:latin typeface="Bebas Neue" panose="020B0606020202050201" pitchFamily="34" charset="0"/>
            </a:endParaRPr>
          </a:p>
        </p:txBody>
      </p:sp>
      <p:sp>
        <p:nvSpPr>
          <p:cNvPr id="167" name="Rectangle 166"/>
          <p:cNvSpPr/>
          <p:nvPr/>
        </p:nvSpPr>
        <p:spPr>
          <a:xfrm>
            <a:off x="4992677" y="4578098"/>
            <a:ext cx="220664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buClr>
                <a:srgbClr val="E24848"/>
              </a:buClr>
            </a:pPr>
            <a:r>
              <a:rPr lang="sr-Latn-RS" sz="1400" noProof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k</a:t>
            </a:r>
            <a:r>
              <a:rPr lang="sr-Latn-RS" sz="14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reditna kartica</a:t>
            </a:r>
            <a:endParaRPr lang="en-US" sz="14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00" name="Straight Connector 99"/>
          <p:cNvCxnSpPr/>
          <p:nvPr/>
        </p:nvCxnSpPr>
        <p:spPr>
          <a:xfrm>
            <a:off x="9889865" y="2387600"/>
            <a:ext cx="0" cy="1515992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Oval 125"/>
          <p:cNvSpPr/>
          <p:nvPr/>
        </p:nvSpPr>
        <p:spPr>
          <a:xfrm>
            <a:off x="9449951" y="1454968"/>
            <a:ext cx="904780" cy="904780"/>
          </a:xfrm>
          <a:prstGeom prst="ellipse">
            <a:avLst/>
          </a:prstGeom>
          <a:gradFill>
            <a:gsLst>
              <a:gs pos="0">
                <a:schemeClr val="accent1">
                  <a:alpha val="84000"/>
                </a:schemeClr>
              </a:gs>
              <a:gs pos="100000">
                <a:schemeClr val="accent2">
                  <a:alpha val="8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Content Placeholder 2"/>
          <p:cNvSpPr txBox="1">
            <a:spLocks/>
          </p:cNvSpPr>
          <p:nvPr/>
        </p:nvSpPr>
        <p:spPr>
          <a:xfrm>
            <a:off x="8839289" y="3988896"/>
            <a:ext cx="2101157" cy="368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 algn="ctr"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sz="1800" b="0" dirty="0" smtClean="0">
                <a:latin typeface="Bebas Neue" panose="020B0606020202050201" pitchFamily="34" charset="0"/>
              </a:rPr>
              <a:t>married </a:t>
            </a:r>
            <a:endParaRPr lang="en-US" sz="1800" b="0" dirty="0">
              <a:latin typeface="Bebas Neue" panose="020B0606020202050201" pitchFamily="34" charset="0"/>
            </a:endParaRPr>
          </a:p>
        </p:txBody>
      </p:sp>
      <p:sp>
        <p:nvSpPr>
          <p:cNvPr id="170" name="Rectangle 169"/>
          <p:cNvSpPr/>
          <p:nvPr/>
        </p:nvSpPr>
        <p:spPr>
          <a:xfrm>
            <a:off x="8786545" y="4357773"/>
            <a:ext cx="220664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buClr>
                <a:srgbClr val="E24848"/>
              </a:buClr>
            </a:pPr>
            <a:r>
              <a:rPr lang="sr-Latn-RS" sz="14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udata/oženjen</a:t>
            </a:r>
            <a:endParaRPr lang="en-US" sz="14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23" name="Oval 122"/>
          <p:cNvSpPr/>
          <p:nvPr/>
        </p:nvSpPr>
        <p:spPr>
          <a:xfrm>
            <a:off x="7539343" y="1093633"/>
            <a:ext cx="904780" cy="904780"/>
          </a:xfrm>
          <a:prstGeom prst="ellipse">
            <a:avLst/>
          </a:prstGeom>
          <a:gradFill>
            <a:gsLst>
              <a:gs pos="0">
                <a:schemeClr val="accent1">
                  <a:alpha val="84000"/>
                </a:schemeClr>
              </a:gs>
              <a:gs pos="100000">
                <a:schemeClr val="accent2">
                  <a:alpha val="8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4" name="Straight Connector 143"/>
          <p:cNvCxnSpPr/>
          <p:nvPr/>
        </p:nvCxnSpPr>
        <p:spPr>
          <a:xfrm>
            <a:off x="7991733" y="2184400"/>
            <a:ext cx="0" cy="271413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Content Placeholder 2"/>
          <p:cNvSpPr txBox="1">
            <a:spLocks/>
          </p:cNvSpPr>
          <p:nvPr/>
        </p:nvSpPr>
        <p:spPr>
          <a:xfrm>
            <a:off x="6942355" y="5030818"/>
            <a:ext cx="2101157" cy="368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 algn="ctr"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sz="1800" b="0" dirty="0" smtClean="0">
                <a:latin typeface="Bebas Neue" panose="020B0606020202050201" pitchFamily="34" charset="0"/>
              </a:rPr>
              <a:t>a business card</a:t>
            </a:r>
            <a:endParaRPr lang="en-US" sz="1800" b="0" dirty="0">
              <a:latin typeface="Bebas Neue" panose="020B0606020202050201" pitchFamily="34" charset="0"/>
            </a:endParaRPr>
          </a:p>
        </p:txBody>
      </p:sp>
      <p:sp>
        <p:nvSpPr>
          <p:cNvPr id="173" name="Rectangle 172"/>
          <p:cNvSpPr/>
          <p:nvPr/>
        </p:nvSpPr>
        <p:spPr>
          <a:xfrm>
            <a:off x="6888410" y="5387259"/>
            <a:ext cx="220664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buClr>
                <a:srgbClr val="E24848"/>
              </a:buClr>
            </a:pPr>
            <a:r>
              <a:rPr lang="sr-Latn-RS" sz="14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biznis kartica</a:t>
            </a:r>
            <a:endParaRPr lang="en-US" sz="14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58" name="Oval 57"/>
          <p:cNvSpPr/>
          <p:nvPr/>
        </p:nvSpPr>
        <p:spPr>
          <a:xfrm>
            <a:off x="294031" y="1230276"/>
            <a:ext cx="904780" cy="904780"/>
          </a:xfrm>
          <a:prstGeom prst="ellipse">
            <a:avLst/>
          </a:prstGeom>
          <a:gradFill>
            <a:gsLst>
              <a:gs pos="0">
                <a:schemeClr val="accent1">
                  <a:alpha val="84000"/>
                </a:schemeClr>
              </a:gs>
              <a:gs pos="100000">
                <a:schemeClr val="accent2">
                  <a:alpha val="8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Content Placeholder 2"/>
          <p:cNvSpPr txBox="1">
            <a:spLocks/>
          </p:cNvSpPr>
          <p:nvPr/>
        </p:nvSpPr>
        <p:spPr>
          <a:xfrm>
            <a:off x="-240371" y="4321206"/>
            <a:ext cx="2101157" cy="368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 algn="ctr"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sz="1800" b="0" dirty="0">
                <a:latin typeface="Bebas Neue" panose="020B0606020202050201" pitchFamily="34" charset="0"/>
              </a:rPr>
              <a:t>s</a:t>
            </a:r>
            <a:r>
              <a:rPr lang="en-US" sz="1800" b="0" dirty="0" smtClean="0">
                <a:latin typeface="Bebas Neue" panose="020B0606020202050201" pitchFamily="34" charset="0"/>
              </a:rPr>
              <a:t>ingle </a:t>
            </a:r>
            <a:endParaRPr lang="en-US" sz="1800" b="0" dirty="0">
              <a:latin typeface="Bebas Neue" panose="020B0606020202050201" pitchFamily="34" charset="0"/>
            </a:endParaRPr>
          </a:p>
        </p:txBody>
      </p:sp>
      <p:cxnSp>
        <p:nvCxnSpPr>
          <p:cNvPr id="61" name="Straight Connector 60"/>
          <p:cNvCxnSpPr/>
          <p:nvPr/>
        </p:nvCxnSpPr>
        <p:spPr>
          <a:xfrm>
            <a:off x="2302133" y="2734925"/>
            <a:ext cx="0" cy="1312664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/>
          <p:cNvSpPr/>
          <p:nvPr/>
        </p:nvSpPr>
        <p:spPr>
          <a:xfrm>
            <a:off x="194582" y="4647543"/>
            <a:ext cx="1231250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buClr>
                <a:srgbClr val="E24848"/>
              </a:buClr>
            </a:pPr>
            <a:r>
              <a:rPr lang="en-US" sz="14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slobodan</a:t>
            </a:r>
            <a:endParaRPr lang="en-US" sz="14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64754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" name="Group 68"/>
          <p:cNvGrpSpPr/>
          <p:nvPr/>
        </p:nvGrpSpPr>
        <p:grpSpPr>
          <a:xfrm>
            <a:off x="1588" y="2208837"/>
            <a:ext cx="12211574" cy="1622979"/>
            <a:chOff x="685800" y="2700871"/>
            <a:chExt cx="7683500" cy="983892"/>
          </a:xfrm>
          <a:solidFill>
            <a:schemeClr val="bg1">
              <a:alpha val="48000"/>
            </a:schemeClr>
          </a:solidFill>
        </p:grpSpPr>
        <p:sp>
          <p:nvSpPr>
            <p:cNvPr id="70" name="Freeform 69"/>
            <p:cNvSpPr>
              <a:spLocks/>
            </p:cNvSpPr>
            <p:nvPr/>
          </p:nvSpPr>
          <p:spPr bwMode="auto">
            <a:xfrm>
              <a:off x="4648200" y="2700871"/>
              <a:ext cx="3721100" cy="962025"/>
            </a:xfrm>
            <a:custGeom>
              <a:avLst/>
              <a:gdLst>
                <a:gd name="T0" fmla="*/ 2285 w 2344"/>
                <a:gd name="T1" fmla="*/ 502 h 606"/>
                <a:gd name="T2" fmla="*/ 2271 w 2344"/>
                <a:gd name="T3" fmla="*/ 405 h 606"/>
                <a:gd name="T4" fmla="*/ 2226 w 2344"/>
                <a:gd name="T5" fmla="*/ 384 h 606"/>
                <a:gd name="T6" fmla="*/ 2118 w 2344"/>
                <a:gd name="T7" fmla="*/ 396 h 606"/>
                <a:gd name="T8" fmla="*/ 2094 w 2344"/>
                <a:gd name="T9" fmla="*/ 436 h 606"/>
                <a:gd name="T10" fmla="*/ 2071 w 2344"/>
                <a:gd name="T11" fmla="*/ 502 h 606"/>
                <a:gd name="T12" fmla="*/ 2059 w 2344"/>
                <a:gd name="T13" fmla="*/ 455 h 606"/>
                <a:gd name="T14" fmla="*/ 2042 w 2344"/>
                <a:gd name="T15" fmla="*/ 490 h 606"/>
                <a:gd name="T16" fmla="*/ 2000 w 2344"/>
                <a:gd name="T17" fmla="*/ 490 h 606"/>
                <a:gd name="T18" fmla="*/ 1918 w 2344"/>
                <a:gd name="T19" fmla="*/ 368 h 606"/>
                <a:gd name="T20" fmla="*/ 1774 w 2344"/>
                <a:gd name="T21" fmla="*/ 361 h 606"/>
                <a:gd name="T22" fmla="*/ 1668 w 2344"/>
                <a:gd name="T23" fmla="*/ 349 h 606"/>
                <a:gd name="T24" fmla="*/ 1574 w 2344"/>
                <a:gd name="T25" fmla="*/ 356 h 606"/>
                <a:gd name="T26" fmla="*/ 1526 w 2344"/>
                <a:gd name="T27" fmla="*/ 384 h 606"/>
                <a:gd name="T28" fmla="*/ 1371 w 2344"/>
                <a:gd name="T29" fmla="*/ 431 h 606"/>
                <a:gd name="T30" fmla="*/ 1253 w 2344"/>
                <a:gd name="T31" fmla="*/ 313 h 606"/>
                <a:gd name="T32" fmla="*/ 1253 w 2344"/>
                <a:gd name="T33" fmla="*/ 104 h 606"/>
                <a:gd name="T34" fmla="*/ 1100 w 2344"/>
                <a:gd name="T35" fmla="*/ 115 h 606"/>
                <a:gd name="T36" fmla="*/ 1100 w 2344"/>
                <a:gd name="T37" fmla="*/ 361 h 606"/>
                <a:gd name="T38" fmla="*/ 1017 w 2344"/>
                <a:gd name="T39" fmla="*/ 443 h 606"/>
                <a:gd name="T40" fmla="*/ 850 w 2344"/>
                <a:gd name="T41" fmla="*/ 337 h 606"/>
                <a:gd name="T42" fmla="*/ 744 w 2344"/>
                <a:gd name="T43" fmla="*/ 302 h 606"/>
                <a:gd name="T44" fmla="*/ 744 w 2344"/>
                <a:gd name="T45" fmla="*/ 490 h 606"/>
                <a:gd name="T46" fmla="*/ 650 w 2344"/>
                <a:gd name="T47" fmla="*/ 502 h 606"/>
                <a:gd name="T48" fmla="*/ 636 w 2344"/>
                <a:gd name="T49" fmla="*/ 525 h 606"/>
                <a:gd name="T50" fmla="*/ 603 w 2344"/>
                <a:gd name="T51" fmla="*/ 408 h 606"/>
                <a:gd name="T52" fmla="*/ 542 w 2344"/>
                <a:gd name="T53" fmla="*/ 361 h 606"/>
                <a:gd name="T54" fmla="*/ 494 w 2344"/>
                <a:gd name="T55" fmla="*/ 419 h 606"/>
                <a:gd name="T56" fmla="*/ 483 w 2344"/>
                <a:gd name="T57" fmla="*/ 535 h 606"/>
                <a:gd name="T58" fmla="*/ 459 w 2344"/>
                <a:gd name="T59" fmla="*/ 525 h 606"/>
                <a:gd name="T60" fmla="*/ 355 w 2344"/>
                <a:gd name="T61" fmla="*/ 514 h 606"/>
                <a:gd name="T62" fmla="*/ 341 w 2344"/>
                <a:gd name="T63" fmla="*/ 490 h 606"/>
                <a:gd name="T64" fmla="*/ 318 w 2344"/>
                <a:gd name="T65" fmla="*/ 467 h 606"/>
                <a:gd name="T66" fmla="*/ 318 w 2344"/>
                <a:gd name="T67" fmla="*/ 269 h 606"/>
                <a:gd name="T68" fmla="*/ 247 w 2344"/>
                <a:gd name="T69" fmla="*/ 92 h 606"/>
                <a:gd name="T70" fmla="*/ 223 w 2344"/>
                <a:gd name="T71" fmla="*/ 0 h 606"/>
                <a:gd name="T72" fmla="*/ 223 w 2344"/>
                <a:gd name="T73" fmla="*/ 80 h 606"/>
                <a:gd name="T74" fmla="*/ 162 w 2344"/>
                <a:gd name="T75" fmla="*/ 92 h 606"/>
                <a:gd name="T76" fmla="*/ 162 w 2344"/>
                <a:gd name="T77" fmla="*/ 12 h 606"/>
                <a:gd name="T78" fmla="*/ 150 w 2344"/>
                <a:gd name="T79" fmla="*/ 68 h 606"/>
                <a:gd name="T80" fmla="*/ 56 w 2344"/>
                <a:gd name="T81" fmla="*/ 104 h 606"/>
                <a:gd name="T82" fmla="*/ 56 w 2344"/>
                <a:gd name="T83" fmla="*/ 349 h 606"/>
                <a:gd name="T84" fmla="*/ 56 w 2344"/>
                <a:gd name="T85" fmla="*/ 471 h 606"/>
                <a:gd name="T86" fmla="*/ 4 w 2344"/>
                <a:gd name="T87" fmla="*/ 490 h 606"/>
                <a:gd name="T88" fmla="*/ 127 w 2344"/>
                <a:gd name="T89" fmla="*/ 606 h 606"/>
                <a:gd name="T90" fmla="*/ 271 w 2344"/>
                <a:gd name="T91" fmla="*/ 606 h 606"/>
                <a:gd name="T92" fmla="*/ 412 w 2344"/>
                <a:gd name="T93" fmla="*/ 606 h 606"/>
                <a:gd name="T94" fmla="*/ 565 w 2344"/>
                <a:gd name="T95" fmla="*/ 606 h 606"/>
                <a:gd name="T96" fmla="*/ 709 w 2344"/>
                <a:gd name="T97" fmla="*/ 606 h 606"/>
                <a:gd name="T98" fmla="*/ 850 w 2344"/>
                <a:gd name="T99" fmla="*/ 606 h 606"/>
                <a:gd name="T100" fmla="*/ 994 w 2344"/>
                <a:gd name="T101" fmla="*/ 606 h 606"/>
                <a:gd name="T102" fmla="*/ 1135 w 2344"/>
                <a:gd name="T103" fmla="*/ 606 h 606"/>
                <a:gd name="T104" fmla="*/ 1277 w 2344"/>
                <a:gd name="T105" fmla="*/ 606 h 606"/>
                <a:gd name="T106" fmla="*/ 1432 w 2344"/>
                <a:gd name="T107" fmla="*/ 606 h 606"/>
                <a:gd name="T108" fmla="*/ 1574 w 2344"/>
                <a:gd name="T109" fmla="*/ 606 h 606"/>
                <a:gd name="T110" fmla="*/ 1715 w 2344"/>
                <a:gd name="T111" fmla="*/ 606 h 606"/>
                <a:gd name="T112" fmla="*/ 1859 w 2344"/>
                <a:gd name="T113" fmla="*/ 606 h 606"/>
                <a:gd name="T114" fmla="*/ 2000 w 2344"/>
                <a:gd name="T115" fmla="*/ 606 h 606"/>
                <a:gd name="T116" fmla="*/ 2141 w 2344"/>
                <a:gd name="T117" fmla="*/ 606 h 606"/>
                <a:gd name="T118" fmla="*/ 2297 w 2344"/>
                <a:gd name="T119" fmla="*/ 606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344" h="606">
                  <a:moveTo>
                    <a:pt x="2344" y="514"/>
                  </a:moveTo>
                  <a:lnTo>
                    <a:pt x="2344" y="514"/>
                  </a:lnTo>
                  <a:lnTo>
                    <a:pt x="2332" y="514"/>
                  </a:lnTo>
                  <a:lnTo>
                    <a:pt x="2332" y="514"/>
                  </a:lnTo>
                  <a:lnTo>
                    <a:pt x="2320" y="514"/>
                  </a:lnTo>
                  <a:lnTo>
                    <a:pt x="2320" y="514"/>
                  </a:lnTo>
                  <a:lnTo>
                    <a:pt x="2309" y="514"/>
                  </a:lnTo>
                  <a:lnTo>
                    <a:pt x="2309" y="514"/>
                  </a:lnTo>
                  <a:lnTo>
                    <a:pt x="2302" y="514"/>
                  </a:lnTo>
                  <a:lnTo>
                    <a:pt x="2297" y="514"/>
                  </a:lnTo>
                  <a:lnTo>
                    <a:pt x="2297" y="514"/>
                  </a:lnTo>
                  <a:lnTo>
                    <a:pt x="2297" y="507"/>
                  </a:lnTo>
                  <a:lnTo>
                    <a:pt x="2297" y="502"/>
                  </a:lnTo>
                  <a:lnTo>
                    <a:pt x="2297" y="502"/>
                  </a:lnTo>
                  <a:lnTo>
                    <a:pt x="2290" y="502"/>
                  </a:lnTo>
                  <a:lnTo>
                    <a:pt x="2285" y="502"/>
                  </a:lnTo>
                  <a:lnTo>
                    <a:pt x="2285" y="502"/>
                  </a:lnTo>
                  <a:lnTo>
                    <a:pt x="2285" y="490"/>
                  </a:lnTo>
                  <a:lnTo>
                    <a:pt x="2285" y="490"/>
                  </a:lnTo>
                  <a:lnTo>
                    <a:pt x="2285" y="443"/>
                  </a:lnTo>
                  <a:lnTo>
                    <a:pt x="2285" y="443"/>
                  </a:lnTo>
                  <a:lnTo>
                    <a:pt x="2285" y="431"/>
                  </a:lnTo>
                  <a:lnTo>
                    <a:pt x="2285" y="431"/>
                  </a:lnTo>
                  <a:lnTo>
                    <a:pt x="2285" y="419"/>
                  </a:lnTo>
                  <a:lnTo>
                    <a:pt x="2285" y="419"/>
                  </a:lnTo>
                  <a:lnTo>
                    <a:pt x="2285" y="412"/>
                  </a:lnTo>
                  <a:lnTo>
                    <a:pt x="2285" y="408"/>
                  </a:lnTo>
                  <a:lnTo>
                    <a:pt x="2285" y="408"/>
                  </a:lnTo>
                  <a:lnTo>
                    <a:pt x="2278" y="408"/>
                  </a:lnTo>
                  <a:lnTo>
                    <a:pt x="2273" y="408"/>
                  </a:lnTo>
                  <a:lnTo>
                    <a:pt x="2273" y="408"/>
                  </a:lnTo>
                  <a:lnTo>
                    <a:pt x="2271" y="405"/>
                  </a:lnTo>
                  <a:lnTo>
                    <a:pt x="2273" y="403"/>
                  </a:lnTo>
                  <a:lnTo>
                    <a:pt x="2273" y="396"/>
                  </a:lnTo>
                  <a:lnTo>
                    <a:pt x="2273" y="396"/>
                  </a:lnTo>
                  <a:lnTo>
                    <a:pt x="2266" y="396"/>
                  </a:lnTo>
                  <a:lnTo>
                    <a:pt x="2262" y="396"/>
                  </a:lnTo>
                  <a:lnTo>
                    <a:pt x="2262" y="396"/>
                  </a:lnTo>
                  <a:lnTo>
                    <a:pt x="2262" y="391"/>
                  </a:lnTo>
                  <a:lnTo>
                    <a:pt x="2262" y="384"/>
                  </a:lnTo>
                  <a:lnTo>
                    <a:pt x="2262" y="384"/>
                  </a:lnTo>
                  <a:lnTo>
                    <a:pt x="2254" y="384"/>
                  </a:lnTo>
                  <a:lnTo>
                    <a:pt x="2250" y="384"/>
                  </a:lnTo>
                  <a:lnTo>
                    <a:pt x="2250" y="384"/>
                  </a:lnTo>
                  <a:lnTo>
                    <a:pt x="2238" y="384"/>
                  </a:lnTo>
                  <a:lnTo>
                    <a:pt x="2238" y="384"/>
                  </a:lnTo>
                  <a:lnTo>
                    <a:pt x="2226" y="384"/>
                  </a:lnTo>
                  <a:lnTo>
                    <a:pt x="2226" y="384"/>
                  </a:lnTo>
                  <a:lnTo>
                    <a:pt x="2214" y="384"/>
                  </a:lnTo>
                  <a:lnTo>
                    <a:pt x="2214" y="384"/>
                  </a:lnTo>
                  <a:lnTo>
                    <a:pt x="2188" y="384"/>
                  </a:lnTo>
                  <a:lnTo>
                    <a:pt x="2188" y="384"/>
                  </a:lnTo>
                  <a:lnTo>
                    <a:pt x="2165" y="384"/>
                  </a:lnTo>
                  <a:lnTo>
                    <a:pt x="2165" y="384"/>
                  </a:lnTo>
                  <a:lnTo>
                    <a:pt x="2141" y="384"/>
                  </a:lnTo>
                  <a:lnTo>
                    <a:pt x="2141" y="384"/>
                  </a:lnTo>
                  <a:lnTo>
                    <a:pt x="2130" y="384"/>
                  </a:lnTo>
                  <a:lnTo>
                    <a:pt x="2130" y="384"/>
                  </a:lnTo>
                  <a:lnTo>
                    <a:pt x="2125" y="384"/>
                  </a:lnTo>
                  <a:lnTo>
                    <a:pt x="2118" y="384"/>
                  </a:lnTo>
                  <a:lnTo>
                    <a:pt x="2118" y="384"/>
                  </a:lnTo>
                  <a:lnTo>
                    <a:pt x="2118" y="391"/>
                  </a:lnTo>
                  <a:lnTo>
                    <a:pt x="2118" y="396"/>
                  </a:lnTo>
                  <a:lnTo>
                    <a:pt x="2118" y="396"/>
                  </a:lnTo>
                  <a:lnTo>
                    <a:pt x="2113" y="396"/>
                  </a:lnTo>
                  <a:lnTo>
                    <a:pt x="2106" y="396"/>
                  </a:lnTo>
                  <a:lnTo>
                    <a:pt x="2106" y="396"/>
                  </a:lnTo>
                  <a:lnTo>
                    <a:pt x="2106" y="408"/>
                  </a:lnTo>
                  <a:lnTo>
                    <a:pt x="2106" y="408"/>
                  </a:lnTo>
                  <a:lnTo>
                    <a:pt x="2106" y="415"/>
                  </a:lnTo>
                  <a:lnTo>
                    <a:pt x="2106" y="419"/>
                  </a:lnTo>
                  <a:lnTo>
                    <a:pt x="2106" y="419"/>
                  </a:lnTo>
                  <a:lnTo>
                    <a:pt x="2106" y="427"/>
                  </a:lnTo>
                  <a:lnTo>
                    <a:pt x="2106" y="431"/>
                  </a:lnTo>
                  <a:lnTo>
                    <a:pt x="2106" y="431"/>
                  </a:lnTo>
                  <a:lnTo>
                    <a:pt x="2101" y="431"/>
                  </a:lnTo>
                  <a:lnTo>
                    <a:pt x="2094" y="431"/>
                  </a:lnTo>
                  <a:lnTo>
                    <a:pt x="2094" y="431"/>
                  </a:lnTo>
                  <a:lnTo>
                    <a:pt x="2094" y="434"/>
                  </a:lnTo>
                  <a:lnTo>
                    <a:pt x="2094" y="436"/>
                  </a:lnTo>
                  <a:lnTo>
                    <a:pt x="2094" y="443"/>
                  </a:lnTo>
                  <a:lnTo>
                    <a:pt x="2094" y="443"/>
                  </a:lnTo>
                  <a:lnTo>
                    <a:pt x="2090" y="443"/>
                  </a:lnTo>
                  <a:lnTo>
                    <a:pt x="2082" y="443"/>
                  </a:lnTo>
                  <a:lnTo>
                    <a:pt x="2082" y="443"/>
                  </a:lnTo>
                  <a:lnTo>
                    <a:pt x="2082" y="448"/>
                  </a:lnTo>
                  <a:lnTo>
                    <a:pt x="2082" y="455"/>
                  </a:lnTo>
                  <a:lnTo>
                    <a:pt x="2082" y="455"/>
                  </a:lnTo>
                  <a:lnTo>
                    <a:pt x="2082" y="467"/>
                  </a:lnTo>
                  <a:lnTo>
                    <a:pt x="2082" y="467"/>
                  </a:lnTo>
                  <a:lnTo>
                    <a:pt x="2082" y="478"/>
                  </a:lnTo>
                  <a:lnTo>
                    <a:pt x="2082" y="478"/>
                  </a:lnTo>
                  <a:lnTo>
                    <a:pt x="2082" y="502"/>
                  </a:lnTo>
                  <a:lnTo>
                    <a:pt x="2082" y="502"/>
                  </a:lnTo>
                  <a:lnTo>
                    <a:pt x="2071" y="502"/>
                  </a:lnTo>
                  <a:lnTo>
                    <a:pt x="2071" y="502"/>
                  </a:lnTo>
                  <a:lnTo>
                    <a:pt x="2071" y="490"/>
                  </a:lnTo>
                  <a:lnTo>
                    <a:pt x="2071" y="490"/>
                  </a:lnTo>
                  <a:lnTo>
                    <a:pt x="2071" y="478"/>
                  </a:lnTo>
                  <a:lnTo>
                    <a:pt x="2071" y="478"/>
                  </a:lnTo>
                  <a:lnTo>
                    <a:pt x="2071" y="467"/>
                  </a:lnTo>
                  <a:lnTo>
                    <a:pt x="2071" y="467"/>
                  </a:lnTo>
                  <a:lnTo>
                    <a:pt x="2071" y="455"/>
                  </a:lnTo>
                  <a:lnTo>
                    <a:pt x="2071" y="455"/>
                  </a:lnTo>
                  <a:lnTo>
                    <a:pt x="2071" y="448"/>
                  </a:lnTo>
                  <a:lnTo>
                    <a:pt x="2071" y="443"/>
                  </a:lnTo>
                  <a:lnTo>
                    <a:pt x="2071" y="443"/>
                  </a:lnTo>
                  <a:lnTo>
                    <a:pt x="2059" y="443"/>
                  </a:lnTo>
                  <a:lnTo>
                    <a:pt x="2059" y="443"/>
                  </a:lnTo>
                  <a:lnTo>
                    <a:pt x="2059" y="448"/>
                  </a:lnTo>
                  <a:lnTo>
                    <a:pt x="2059" y="455"/>
                  </a:lnTo>
                  <a:lnTo>
                    <a:pt x="2059" y="455"/>
                  </a:lnTo>
                  <a:lnTo>
                    <a:pt x="2059" y="478"/>
                  </a:lnTo>
                  <a:lnTo>
                    <a:pt x="2059" y="478"/>
                  </a:lnTo>
                  <a:lnTo>
                    <a:pt x="2059" y="525"/>
                  </a:lnTo>
                  <a:lnTo>
                    <a:pt x="2059" y="525"/>
                  </a:lnTo>
                  <a:lnTo>
                    <a:pt x="2054" y="525"/>
                  </a:lnTo>
                  <a:lnTo>
                    <a:pt x="2047" y="525"/>
                  </a:lnTo>
                  <a:lnTo>
                    <a:pt x="2047" y="525"/>
                  </a:lnTo>
                  <a:lnTo>
                    <a:pt x="2047" y="518"/>
                  </a:lnTo>
                  <a:lnTo>
                    <a:pt x="2047" y="514"/>
                  </a:lnTo>
                  <a:lnTo>
                    <a:pt x="2047" y="514"/>
                  </a:lnTo>
                  <a:lnTo>
                    <a:pt x="2047" y="502"/>
                  </a:lnTo>
                  <a:lnTo>
                    <a:pt x="2047" y="502"/>
                  </a:lnTo>
                  <a:lnTo>
                    <a:pt x="2047" y="495"/>
                  </a:lnTo>
                  <a:lnTo>
                    <a:pt x="2047" y="490"/>
                  </a:lnTo>
                  <a:lnTo>
                    <a:pt x="2047" y="490"/>
                  </a:lnTo>
                  <a:lnTo>
                    <a:pt x="2042" y="490"/>
                  </a:lnTo>
                  <a:lnTo>
                    <a:pt x="2035" y="490"/>
                  </a:lnTo>
                  <a:lnTo>
                    <a:pt x="2035" y="490"/>
                  </a:lnTo>
                  <a:lnTo>
                    <a:pt x="2035" y="483"/>
                  </a:lnTo>
                  <a:lnTo>
                    <a:pt x="2035" y="478"/>
                  </a:lnTo>
                  <a:lnTo>
                    <a:pt x="2035" y="478"/>
                  </a:lnTo>
                  <a:lnTo>
                    <a:pt x="2031" y="478"/>
                  </a:lnTo>
                  <a:lnTo>
                    <a:pt x="2024" y="478"/>
                  </a:lnTo>
                  <a:lnTo>
                    <a:pt x="2024" y="478"/>
                  </a:lnTo>
                  <a:lnTo>
                    <a:pt x="2012" y="478"/>
                  </a:lnTo>
                  <a:lnTo>
                    <a:pt x="2012" y="478"/>
                  </a:lnTo>
                  <a:lnTo>
                    <a:pt x="2005" y="478"/>
                  </a:lnTo>
                  <a:lnTo>
                    <a:pt x="2000" y="478"/>
                  </a:lnTo>
                  <a:lnTo>
                    <a:pt x="2000" y="478"/>
                  </a:lnTo>
                  <a:lnTo>
                    <a:pt x="2000" y="483"/>
                  </a:lnTo>
                  <a:lnTo>
                    <a:pt x="2000" y="490"/>
                  </a:lnTo>
                  <a:lnTo>
                    <a:pt x="2000" y="490"/>
                  </a:lnTo>
                  <a:lnTo>
                    <a:pt x="1998" y="490"/>
                  </a:lnTo>
                  <a:lnTo>
                    <a:pt x="1995" y="490"/>
                  </a:lnTo>
                  <a:lnTo>
                    <a:pt x="1988" y="490"/>
                  </a:lnTo>
                  <a:lnTo>
                    <a:pt x="1988" y="490"/>
                  </a:lnTo>
                  <a:lnTo>
                    <a:pt x="1988" y="396"/>
                  </a:lnTo>
                  <a:lnTo>
                    <a:pt x="1988" y="396"/>
                  </a:lnTo>
                  <a:lnTo>
                    <a:pt x="1988" y="372"/>
                  </a:lnTo>
                  <a:lnTo>
                    <a:pt x="1988" y="372"/>
                  </a:lnTo>
                  <a:lnTo>
                    <a:pt x="1941" y="372"/>
                  </a:lnTo>
                  <a:lnTo>
                    <a:pt x="1941" y="372"/>
                  </a:lnTo>
                  <a:lnTo>
                    <a:pt x="1929" y="372"/>
                  </a:lnTo>
                  <a:lnTo>
                    <a:pt x="1929" y="372"/>
                  </a:lnTo>
                  <a:lnTo>
                    <a:pt x="1922" y="372"/>
                  </a:lnTo>
                  <a:lnTo>
                    <a:pt x="1918" y="372"/>
                  </a:lnTo>
                  <a:lnTo>
                    <a:pt x="1918" y="372"/>
                  </a:lnTo>
                  <a:lnTo>
                    <a:pt x="1918" y="368"/>
                  </a:lnTo>
                  <a:lnTo>
                    <a:pt x="1918" y="361"/>
                  </a:lnTo>
                  <a:lnTo>
                    <a:pt x="1918" y="361"/>
                  </a:lnTo>
                  <a:lnTo>
                    <a:pt x="1906" y="361"/>
                  </a:lnTo>
                  <a:lnTo>
                    <a:pt x="1906" y="361"/>
                  </a:lnTo>
                  <a:lnTo>
                    <a:pt x="1894" y="361"/>
                  </a:lnTo>
                  <a:lnTo>
                    <a:pt x="1894" y="361"/>
                  </a:lnTo>
                  <a:lnTo>
                    <a:pt x="1847" y="361"/>
                  </a:lnTo>
                  <a:lnTo>
                    <a:pt x="1847" y="361"/>
                  </a:lnTo>
                  <a:lnTo>
                    <a:pt x="1823" y="361"/>
                  </a:lnTo>
                  <a:lnTo>
                    <a:pt x="1823" y="361"/>
                  </a:lnTo>
                  <a:lnTo>
                    <a:pt x="1812" y="361"/>
                  </a:lnTo>
                  <a:lnTo>
                    <a:pt x="1812" y="361"/>
                  </a:lnTo>
                  <a:lnTo>
                    <a:pt x="1786" y="361"/>
                  </a:lnTo>
                  <a:lnTo>
                    <a:pt x="1786" y="361"/>
                  </a:lnTo>
                  <a:lnTo>
                    <a:pt x="1774" y="361"/>
                  </a:lnTo>
                  <a:lnTo>
                    <a:pt x="1774" y="361"/>
                  </a:lnTo>
                  <a:lnTo>
                    <a:pt x="1750" y="361"/>
                  </a:lnTo>
                  <a:lnTo>
                    <a:pt x="1750" y="361"/>
                  </a:lnTo>
                  <a:lnTo>
                    <a:pt x="1738" y="361"/>
                  </a:lnTo>
                  <a:lnTo>
                    <a:pt x="1738" y="361"/>
                  </a:lnTo>
                  <a:lnTo>
                    <a:pt x="1715" y="361"/>
                  </a:lnTo>
                  <a:lnTo>
                    <a:pt x="1715" y="361"/>
                  </a:lnTo>
                  <a:lnTo>
                    <a:pt x="1691" y="361"/>
                  </a:lnTo>
                  <a:lnTo>
                    <a:pt x="1691" y="361"/>
                  </a:lnTo>
                  <a:lnTo>
                    <a:pt x="1680" y="361"/>
                  </a:lnTo>
                  <a:lnTo>
                    <a:pt x="1680" y="361"/>
                  </a:lnTo>
                  <a:lnTo>
                    <a:pt x="1675" y="361"/>
                  </a:lnTo>
                  <a:lnTo>
                    <a:pt x="1668" y="361"/>
                  </a:lnTo>
                  <a:lnTo>
                    <a:pt x="1668" y="361"/>
                  </a:lnTo>
                  <a:lnTo>
                    <a:pt x="1668" y="356"/>
                  </a:lnTo>
                  <a:lnTo>
                    <a:pt x="1668" y="349"/>
                  </a:lnTo>
                  <a:lnTo>
                    <a:pt x="1668" y="349"/>
                  </a:lnTo>
                  <a:lnTo>
                    <a:pt x="1663" y="349"/>
                  </a:lnTo>
                  <a:lnTo>
                    <a:pt x="1656" y="349"/>
                  </a:lnTo>
                  <a:lnTo>
                    <a:pt x="1656" y="349"/>
                  </a:lnTo>
                  <a:lnTo>
                    <a:pt x="1644" y="349"/>
                  </a:lnTo>
                  <a:lnTo>
                    <a:pt x="1644" y="349"/>
                  </a:lnTo>
                  <a:lnTo>
                    <a:pt x="1632" y="349"/>
                  </a:lnTo>
                  <a:lnTo>
                    <a:pt x="1632" y="349"/>
                  </a:lnTo>
                  <a:lnTo>
                    <a:pt x="1609" y="349"/>
                  </a:lnTo>
                  <a:lnTo>
                    <a:pt x="1609" y="349"/>
                  </a:lnTo>
                  <a:lnTo>
                    <a:pt x="1585" y="349"/>
                  </a:lnTo>
                  <a:lnTo>
                    <a:pt x="1585" y="349"/>
                  </a:lnTo>
                  <a:lnTo>
                    <a:pt x="1578" y="349"/>
                  </a:lnTo>
                  <a:lnTo>
                    <a:pt x="1574" y="349"/>
                  </a:lnTo>
                  <a:lnTo>
                    <a:pt x="1574" y="349"/>
                  </a:lnTo>
                  <a:lnTo>
                    <a:pt x="1574" y="351"/>
                  </a:lnTo>
                  <a:lnTo>
                    <a:pt x="1574" y="356"/>
                  </a:lnTo>
                  <a:lnTo>
                    <a:pt x="1574" y="361"/>
                  </a:lnTo>
                  <a:lnTo>
                    <a:pt x="1574" y="361"/>
                  </a:lnTo>
                  <a:lnTo>
                    <a:pt x="1574" y="363"/>
                  </a:lnTo>
                  <a:lnTo>
                    <a:pt x="1574" y="368"/>
                  </a:lnTo>
                  <a:lnTo>
                    <a:pt x="1574" y="370"/>
                  </a:lnTo>
                  <a:lnTo>
                    <a:pt x="1574" y="372"/>
                  </a:lnTo>
                  <a:lnTo>
                    <a:pt x="1574" y="372"/>
                  </a:lnTo>
                  <a:lnTo>
                    <a:pt x="1562" y="372"/>
                  </a:lnTo>
                  <a:lnTo>
                    <a:pt x="1562" y="372"/>
                  </a:lnTo>
                  <a:lnTo>
                    <a:pt x="1550" y="372"/>
                  </a:lnTo>
                  <a:lnTo>
                    <a:pt x="1550" y="372"/>
                  </a:lnTo>
                  <a:lnTo>
                    <a:pt x="1526" y="372"/>
                  </a:lnTo>
                  <a:lnTo>
                    <a:pt x="1526" y="372"/>
                  </a:lnTo>
                  <a:lnTo>
                    <a:pt x="1526" y="379"/>
                  </a:lnTo>
                  <a:lnTo>
                    <a:pt x="1526" y="382"/>
                  </a:lnTo>
                  <a:lnTo>
                    <a:pt x="1526" y="384"/>
                  </a:lnTo>
                  <a:lnTo>
                    <a:pt x="1526" y="384"/>
                  </a:lnTo>
                  <a:lnTo>
                    <a:pt x="1519" y="384"/>
                  </a:lnTo>
                  <a:lnTo>
                    <a:pt x="1515" y="384"/>
                  </a:lnTo>
                  <a:lnTo>
                    <a:pt x="1515" y="384"/>
                  </a:lnTo>
                  <a:lnTo>
                    <a:pt x="1503" y="384"/>
                  </a:lnTo>
                  <a:lnTo>
                    <a:pt x="1503" y="384"/>
                  </a:lnTo>
                  <a:lnTo>
                    <a:pt x="1491" y="384"/>
                  </a:lnTo>
                  <a:lnTo>
                    <a:pt x="1491" y="384"/>
                  </a:lnTo>
                  <a:lnTo>
                    <a:pt x="1468" y="384"/>
                  </a:lnTo>
                  <a:lnTo>
                    <a:pt x="1468" y="384"/>
                  </a:lnTo>
                  <a:lnTo>
                    <a:pt x="1420" y="384"/>
                  </a:lnTo>
                  <a:lnTo>
                    <a:pt x="1420" y="384"/>
                  </a:lnTo>
                  <a:lnTo>
                    <a:pt x="1420" y="431"/>
                  </a:lnTo>
                  <a:lnTo>
                    <a:pt x="1420" y="431"/>
                  </a:lnTo>
                  <a:lnTo>
                    <a:pt x="1371" y="431"/>
                  </a:lnTo>
                  <a:lnTo>
                    <a:pt x="1371" y="431"/>
                  </a:lnTo>
                  <a:lnTo>
                    <a:pt x="1324" y="431"/>
                  </a:lnTo>
                  <a:lnTo>
                    <a:pt x="1324" y="431"/>
                  </a:lnTo>
                  <a:lnTo>
                    <a:pt x="1312" y="431"/>
                  </a:lnTo>
                  <a:lnTo>
                    <a:pt x="1312" y="431"/>
                  </a:lnTo>
                  <a:lnTo>
                    <a:pt x="1288" y="431"/>
                  </a:lnTo>
                  <a:lnTo>
                    <a:pt x="1288" y="431"/>
                  </a:lnTo>
                  <a:lnTo>
                    <a:pt x="1277" y="431"/>
                  </a:lnTo>
                  <a:lnTo>
                    <a:pt x="1277" y="431"/>
                  </a:lnTo>
                  <a:lnTo>
                    <a:pt x="1253" y="431"/>
                  </a:lnTo>
                  <a:lnTo>
                    <a:pt x="1253" y="431"/>
                  </a:lnTo>
                  <a:lnTo>
                    <a:pt x="1253" y="384"/>
                  </a:lnTo>
                  <a:lnTo>
                    <a:pt x="1253" y="384"/>
                  </a:lnTo>
                  <a:lnTo>
                    <a:pt x="1253" y="337"/>
                  </a:lnTo>
                  <a:lnTo>
                    <a:pt x="1253" y="337"/>
                  </a:lnTo>
                  <a:lnTo>
                    <a:pt x="1253" y="313"/>
                  </a:lnTo>
                  <a:lnTo>
                    <a:pt x="1253" y="313"/>
                  </a:lnTo>
                  <a:lnTo>
                    <a:pt x="1253" y="292"/>
                  </a:lnTo>
                  <a:lnTo>
                    <a:pt x="1253" y="292"/>
                  </a:lnTo>
                  <a:lnTo>
                    <a:pt x="1253" y="280"/>
                  </a:lnTo>
                  <a:lnTo>
                    <a:pt x="1253" y="280"/>
                  </a:lnTo>
                  <a:lnTo>
                    <a:pt x="1253" y="257"/>
                  </a:lnTo>
                  <a:lnTo>
                    <a:pt x="1253" y="257"/>
                  </a:lnTo>
                  <a:lnTo>
                    <a:pt x="1253" y="233"/>
                  </a:lnTo>
                  <a:lnTo>
                    <a:pt x="1253" y="233"/>
                  </a:lnTo>
                  <a:lnTo>
                    <a:pt x="1253" y="186"/>
                  </a:lnTo>
                  <a:lnTo>
                    <a:pt x="1253" y="186"/>
                  </a:lnTo>
                  <a:lnTo>
                    <a:pt x="1253" y="174"/>
                  </a:lnTo>
                  <a:lnTo>
                    <a:pt x="1253" y="174"/>
                  </a:lnTo>
                  <a:lnTo>
                    <a:pt x="1253" y="151"/>
                  </a:lnTo>
                  <a:lnTo>
                    <a:pt x="1253" y="151"/>
                  </a:lnTo>
                  <a:lnTo>
                    <a:pt x="1253" y="104"/>
                  </a:lnTo>
                  <a:lnTo>
                    <a:pt x="1253" y="104"/>
                  </a:lnTo>
                  <a:lnTo>
                    <a:pt x="1241" y="104"/>
                  </a:lnTo>
                  <a:lnTo>
                    <a:pt x="1241" y="104"/>
                  </a:lnTo>
                  <a:lnTo>
                    <a:pt x="1218" y="104"/>
                  </a:lnTo>
                  <a:lnTo>
                    <a:pt x="1218" y="104"/>
                  </a:lnTo>
                  <a:lnTo>
                    <a:pt x="1206" y="104"/>
                  </a:lnTo>
                  <a:lnTo>
                    <a:pt x="1206" y="104"/>
                  </a:lnTo>
                  <a:lnTo>
                    <a:pt x="1182" y="104"/>
                  </a:lnTo>
                  <a:lnTo>
                    <a:pt x="1182" y="104"/>
                  </a:lnTo>
                  <a:lnTo>
                    <a:pt x="1171" y="104"/>
                  </a:lnTo>
                  <a:lnTo>
                    <a:pt x="1171" y="104"/>
                  </a:lnTo>
                  <a:lnTo>
                    <a:pt x="1147" y="104"/>
                  </a:lnTo>
                  <a:lnTo>
                    <a:pt x="1147" y="104"/>
                  </a:lnTo>
                  <a:lnTo>
                    <a:pt x="1100" y="104"/>
                  </a:lnTo>
                  <a:lnTo>
                    <a:pt x="1100" y="104"/>
                  </a:lnTo>
                  <a:lnTo>
                    <a:pt x="1100" y="115"/>
                  </a:lnTo>
                  <a:lnTo>
                    <a:pt x="1100" y="115"/>
                  </a:lnTo>
                  <a:lnTo>
                    <a:pt x="1100" y="139"/>
                  </a:lnTo>
                  <a:lnTo>
                    <a:pt x="1100" y="139"/>
                  </a:lnTo>
                  <a:lnTo>
                    <a:pt x="1100" y="186"/>
                  </a:lnTo>
                  <a:lnTo>
                    <a:pt x="1100" y="186"/>
                  </a:lnTo>
                  <a:lnTo>
                    <a:pt x="1100" y="233"/>
                  </a:lnTo>
                  <a:lnTo>
                    <a:pt x="1100" y="233"/>
                  </a:lnTo>
                  <a:lnTo>
                    <a:pt x="1100" y="257"/>
                  </a:lnTo>
                  <a:lnTo>
                    <a:pt x="1100" y="257"/>
                  </a:lnTo>
                  <a:lnTo>
                    <a:pt x="1100" y="269"/>
                  </a:lnTo>
                  <a:lnTo>
                    <a:pt x="1100" y="269"/>
                  </a:lnTo>
                  <a:lnTo>
                    <a:pt x="1100" y="292"/>
                  </a:lnTo>
                  <a:lnTo>
                    <a:pt x="1100" y="292"/>
                  </a:lnTo>
                  <a:lnTo>
                    <a:pt x="1100" y="313"/>
                  </a:lnTo>
                  <a:lnTo>
                    <a:pt x="1100" y="313"/>
                  </a:lnTo>
                  <a:lnTo>
                    <a:pt x="1100" y="361"/>
                  </a:lnTo>
                  <a:lnTo>
                    <a:pt x="1100" y="361"/>
                  </a:lnTo>
                  <a:lnTo>
                    <a:pt x="1100" y="408"/>
                  </a:lnTo>
                  <a:lnTo>
                    <a:pt x="1100" y="408"/>
                  </a:lnTo>
                  <a:lnTo>
                    <a:pt x="1100" y="419"/>
                  </a:lnTo>
                  <a:lnTo>
                    <a:pt x="1100" y="419"/>
                  </a:lnTo>
                  <a:lnTo>
                    <a:pt x="1100" y="443"/>
                  </a:lnTo>
                  <a:lnTo>
                    <a:pt x="1100" y="443"/>
                  </a:lnTo>
                  <a:lnTo>
                    <a:pt x="1088" y="443"/>
                  </a:lnTo>
                  <a:lnTo>
                    <a:pt x="1088" y="443"/>
                  </a:lnTo>
                  <a:lnTo>
                    <a:pt x="1065" y="443"/>
                  </a:lnTo>
                  <a:lnTo>
                    <a:pt x="1065" y="443"/>
                  </a:lnTo>
                  <a:lnTo>
                    <a:pt x="1053" y="443"/>
                  </a:lnTo>
                  <a:lnTo>
                    <a:pt x="1053" y="443"/>
                  </a:lnTo>
                  <a:lnTo>
                    <a:pt x="1029" y="443"/>
                  </a:lnTo>
                  <a:lnTo>
                    <a:pt x="1029" y="443"/>
                  </a:lnTo>
                  <a:lnTo>
                    <a:pt x="1017" y="443"/>
                  </a:lnTo>
                  <a:lnTo>
                    <a:pt x="1017" y="443"/>
                  </a:lnTo>
                  <a:lnTo>
                    <a:pt x="994" y="443"/>
                  </a:lnTo>
                  <a:lnTo>
                    <a:pt x="994" y="443"/>
                  </a:lnTo>
                  <a:lnTo>
                    <a:pt x="968" y="443"/>
                  </a:lnTo>
                  <a:lnTo>
                    <a:pt x="968" y="443"/>
                  </a:lnTo>
                  <a:lnTo>
                    <a:pt x="944" y="443"/>
                  </a:lnTo>
                  <a:lnTo>
                    <a:pt x="944" y="443"/>
                  </a:lnTo>
                  <a:lnTo>
                    <a:pt x="897" y="443"/>
                  </a:lnTo>
                  <a:lnTo>
                    <a:pt x="897" y="443"/>
                  </a:lnTo>
                  <a:lnTo>
                    <a:pt x="850" y="443"/>
                  </a:lnTo>
                  <a:lnTo>
                    <a:pt x="850" y="443"/>
                  </a:lnTo>
                  <a:lnTo>
                    <a:pt x="850" y="431"/>
                  </a:lnTo>
                  <a:lnTo>
                    <a:pt x="850" y="431"/>
                  </a:lnTo>
                  <a:lnTo>
                    <a:pt x="850" y="384"/>
                  </a:lnTo>
                  <a:lnTo>
                    <a:pt x="850" y="384"/>
                  </a:lnTo>
                  <a:lnTo>
                    <a:pt x="850" y="337"/>
                  </a:lnTo>
                  <a:lnTo>
                    <a:pt x="850" y="337"/>
                  </a:lnTo>
                  <a:lnTo>
                    <a:pt x="850" y="245"/>
                  </a:lnTo>
                  <a:lnTo>
                    <a:pt x="850" y="245"/>
                  </a:lnTo>
                  <a:lnTo>
                    <a:pt x="827" y="245"/>
                  </a:lnTo>
                  <a:lnTo>
                    <a:pt x="827" y="245"/>
                  </a:lnTo>
                  <a:lnTo>
                    <a:pt x="815" y="245"/>
                  </a:lnTo>
                  <a:lnTo>
                    <a:pt x="815" y="245"/>
                  </a:lnTo>
                  <a:lnTo>
                    <a:pt x="791" y="245"/>
                  </a:lnTo>
                  <a:lnTo>
                    <a:pt x="791" y="245"/>
                  </a:lnTo>
                  <a:lnTo>
                    <a:pt x="744" y="245"/>
                  </a:lnTo>
                  <a:lnTo>
                    <a:pt x="744" y="245"/>
                  </a:lnTo>
                  <a:lnTo>
                    <a:pt x="744" y="269"/>
                  </a:lnTo>
                  <a:lnTo>
                    <a:pt x="744" y="269"/>
                  </a:lnTo>
                  <a:lnTo>
                    <a:pt x="744" y="280"/>
                  </a:lnTo>
                  <a:lnTo>
                    <a:pt x="744" y="280"/>
                  </a:lnTo>
                  <a:lnTo>
                    <a:pt x="744" y="302"/>
                  </a:lnTo>
                  <a:lnTo>
                    <a:pt x="744" y="302"/>
                  </a:lnTo>
                  <a:lnTo>
                    <a:pt x="744" y="325"/>
                  </a:lnTo>
                  <a:lnTo>
                    <a:pt x="744" y="325"/>
                  </a:lnTo>
                  <a:lnTo>
                    <a:pt x="744" y="337"/>
                  </a:lnTo>
                  <a:lnTo>
                    <a:pt x="744" y="337"/>
                  </a:lnTo>
                  <a:lnTo>
                    <a:pt x="744" y="361"/>
                  </a:lnTo>
                  <a:lnTo>
                    <a:pt x="744" y="361"/>
                  </a:lnTo>
                  <a:lnTo>
                    <a:pt x="744" y="372"/>
                  </a:lnTo>
                  <a:lnTo>
                    <a:pt x="744" y="372"/>
                  </a:lnTo>
                  <a:lnTo>
                    <a:pt x="744" y="396"/>
                  </a:lnTo>
                  <a:lnTo>
                    <a:pt x="744" y="396"/>
                  </a:lnTo>
                  <a:lnTo>
                    <a:pt x="744" y="419"/>
                  </a:lnTo>
                  <a:lnTo>
                    <a:pt x="744" y="419"/>
                  </a:lnTo>
                  <a:lnTo>
                    <a:pt x="744" y="467"/>
                  </a:lnTo>
                  <a:lnTo>
                    <a:pt x="744" y="467"/>
                  </a:lnTo>
                  <a:lnTo>
                    <a:pt x="744" y="490"/>
                  </a:lnTo>
                  <a:lnTo>
                    <a:pt x="744" y="490"/>
                  </a:lnTo>
                  <a:lnTo>
                    <a:pt x="732" y="490"/>
                  </a:lnTo>
                  <a:lnTo>
                    <a:pt x="732" y="490"/>
                  </a:lnTo>
                  <a:lnTo>
                    <a:pt x="709" y="490"/>
                  </a:lnTo>
                  <a:lnTo>
                    <a:pt x="709" y="490"/>
                  </a:lnTo>
                  <a:lnTo>
                    <a:pt x="709" y="495"/>
                  </a:lnTo>
                  <a:lnTo>
                    <a:pt x="709" y="500"/>
                  </a:lnTo>
                  <a:lnTo>
                    <a:pt x="709" y="502"/>
                  </a:lnTo>
                  <a:lnTo>
                    <a:pt x="709" y="502"/>
                  </a:lnTo>
                  <a:lnTo>
                    <a:pt x="702" y="502"/>
                  </a:lnTo>
                  <a:lnTo>
                    <a:pt x="697" y="502"/>
                  </a:lnTo>
                  <a:lnTo>
                    <a:pt x="697" y="502"/>
                  </a:lnTo>
                  <a:lnTo>
                    <a:pt x="685" y="502"/>
                  </a:lnTo>
                  <a:lnTo>
                    <a:pt x="685" y="502"/>
                  </a:lnTo>
                  <a:lnTo>
                    <a:pt x="673" y="502"/>
                  </a:lnTo>
                  <a:lnTo>
                    <a:pt x="673" y="502"/>
                  </a:lnTo>
                  <a:lnTo>
                    <a:pt x="650" y="502"/>
                  </a:lnTo>
                  <a:lnTo>
                    <a:pt x="650" y="502"/>
                  </a:lnTo>
                  <a:lnTo>
                    <a:pt x="650" y="507"/>
                  </a:lnTo>
                  <a:lnTo>
                    <a:pt x="650" y="511"/>
                  </a:lnTo>
                  <a:lnTo>
                    <a:pt x="650" y="514"/>
                  </a:lnTo>
                  <a:lnTo>
                    <a:pt x="650" y="514"/>
                  </a:lnTo>
                  <a:lnTo>
                    <a:pt x="648" y="514"/>
                  </a:lnTo>
                  <a:lnTo>
                    <a:pt x="643" y="514"/>
                  </a:lnTo>
                  <a:lnTo>
                    <a:pt x="640" y="511"/>
                  </a:lnTo>
                  <a:lnTo>
                    <a:pt x="638" y="514"/>
                  </a:lnTo>
                  <a:lnTo>
                    <a:pt x="638" y="514"/>
                  </a:lnTo>
                  <a:lnTo>
                    <a:pt x="636" y="516"/>
                  </a:lnTo>
                  <a:lnTo>
                    <a:pt x="638" y="518"/>
                  </a:lnTo>
                  <a:lnTo>
                    <a:pt x="638" y="523"/>
                  </a:lnTo>
                  <a:lnTo>
                    <a:pt x="638" y="525"/>
                  </a:lnTo>
                  <a:lnTo>
                    <a:pt x="638" y="525"/>
                  </a:lnTo>
                  <a:lnTo>
                    <a:pt x="636" y="525"/>
                  </a:lnTo>
                  <a:lnTo>
                    <a:pt x="631" y="525"/>
                  </a:lnTo>
                  <a:lnTo>
                    <a:pt x="626" y="525"/>
                  </a:lnTo>
                  <a:lnTo>
                    <a:pt x="626" y="525"/>
                  </a:lnTo>
                  <a:lnTo>
                    <a:pt x="603" y="525"/>
                  </a:lnTo>
                  <a:lnTo>
                    <a:pt x="603" y="525"/>
                  </a:lnTo>
                  <a:lnTo>
                    <a:pt x="603" y="502"/>
                  </a:lnTo>
                  <a:lnTo>
                    <a:pt x="603" y="502"/>
                  </a:lnTo>
                  <a:lnTo>
                    <a:pt x="603" y="490"/>
                  </a:lnTo>
                  <a:lnTo>
                    <a:pt x="603" y="490"/>
                  </a:lnTo>
                  <a:lnTo>
                    <a:pt x="603" y="467"/>
                  </a:lnTo>
                  <a:lnTo>
                    <a:pt x="603" y="467"/>
                  </a:lnTo>
                  <a:lnTo>
                    <a:pt x="603" y="455"/>
                  </a:lnTo>
                  <a:lnTo>
                    <a:pt x="603" y="455"/>
                  </a:lnTo>
                  <a:lnTo>
                    <a:pt x="603" y="431"/>
                  </a:lnTo>
                  <a:lnTo>
                    <a:pt x="603" y="431"/>
                  </a:lnTo>
                  <a:lnTo>
                    <a:pt x="603" y="408"/>
                  </a:lnTo>
                  <a:lnTo>
                    <a:pt x="603" y="408"/>
                  </a:lnTo>
                  <a:lnTo>
                    <a:pt x="577" y="408"/>
                  </a:lnTo>
                  <a:lnTo>
                    <a:pt x="577" y="408"/>
                  </a:lnTo>
                  <a:lnTo>
                    <a:pt x="579" y="401"/>
                  </a:lnTo>
                  <a:lnTo>
                    <a:pt x="579" y="398"/>
                  </a:lnTo>
                  <a:lnTo>
                    <a:pt x="577" y="396"/>
                  </a:lnTo>
                  <a:lnTo>
                    <a:pt x="577" y="396"/>
                  </a:lnTo>
                  <a:lnTo>
                    <a:pt x="575" y="396"/>
                  </a:lnTo>
                  <a:lnTo>
                    <a:pt x="572" y="396"/>
                  </a:lnTo>
                  <a:lnTo>
                    <a:pt x="565" y="396"/>
                  </a:lnTo>
                  <a:lnTo>
                    <a:pt x="565" y="396"/>
                  </a:lnTo>
                  <a:lnTo>
                    <a:pt x="565" y="384"/>
                  </a:lnTo>
                  <a:lnTo>
                    <a:pt x="565" y="384"/>
                  </a:lnTo>
                  <a:lnTo>
                    <a:pt x="565" y="361"/>
                  </a:lnTo>
                  <a:lnTo>
                    <a:pt x="565" y="361"/>
                  </a:lnTo>
                  <a:lnTo>
                    <a:pt x="542" y="361"/>
                  </a:lnTo>
                  <a:lnTo>
                    <a:pt x="542" y="361"/>
                  </a:lnTo>
                  <a:lnTo>
                    <a:pt x="542" y="408"/>
                  </a:lnTo>
                  <a:lnTo>
                    <a:pt x="542" y="408"/>
                  </a:lnTo>
                  <a:lnTo>
                    <a:pt x="530" y="408"/>
                  </a:lnTo>
                  <a:lnTo>
                    <a:pt x="530" y="408"/>
                  </a:lnTo>
                  <a:lnTo>
                    <a:pt x="518" y="408"/>
                  </a:lnTo>
                  <a:lnTo>
                    <a:pt x="518" y="408"/>
                  </a:lnTo>
                  <a:lnTo>
                    <a:pt x="513" y="408"/>
                  </a:lnTo>
                  <a:lnTo>
                    <a:pt x="506" y="408"/>
                  </a:lnTo>
                  <a:lnTo>
                    <a:pt x="506" y="408"/>
                  </a:lnTo>
                  <a:lnTo>
                    <a:pt x="501" y="408"/>
                  </a:lnTo>
                  <a:lnTo>
                    <a:pt x="494" y="408"/>
                  </a:lnTo>
                  <a:lnTo>
                    <a:pt x="494" y="408"/>
                  </a:lnTo>
                  <a:lnTo>
                    <a:pt x="494" y="410"/>
                  </a:lnTo>
                  <a:lnTo>
                    <a:pt x="494" y="412"/>
                  </a:lnTo>
                  <a:lnTo>
                    <a:pt x="494" y="419"/>
                  </a:lnTo>
                  <a:lnTo>
                    <a:pt x="494" y="419"/>
                  </a:lnTo>
                  <a:lnTo>
                    <a:pt x="494" y="427"/>
                  </a:lnTo>
                  <a:lnTo>
                    <a:pt x="497" y="429"/>
                  </a:lnTo>
                  <a:lnTo>
                    <a:pt x="494" y="431"/>
                  </a:lnTo>
                  <a:lnTo>
                    <a:pt x="494" y="431"/>
                  </a:lnTo>
                  <a:lnTo>
                    <a:pt x="490" y="431"/>
                  </a:lnTo>
                  <a:lnTo>
                    <a:pt x="483" y="431"/>
                  </a:lnTo>
                  <a:lnTo>
                    <a:pt x="483" y="431"/>
                  </a:lnTo>
                  <a:lnTo>
                    <a:pt x="483" y="443"/>
                  </a:lnTo>
                  <a:lnTo>
                    <a:pt x="483" y="443"/>
                  </a:lnTo>
                  <a:lnTo>
                    <a:pt x="483" y="467"/>
                  </a:lnTo>
                  <a:lnTo>
                    <a:pt x="483" y="467"/>
                  </a:lnTo>
                  <a:lnTo>
                    <a:pt x="483" y="514"/>
                  </a:lnTo>
                  <a:lnTo>
                    <a:pt x="483" y="514"/>
                  </a:lnTo>
                  <a:lnTo>
                    <a:pt x="483" y="535"/>
                  </a:lnTo>
                  <a:lnTo>
                    <a:pt x="483" y="535"/>
                  </a:lnTo>
                  <a:lnTo>
                    <a:pt x="483" y="547"/>
                  </a:lnTo>
                  <a:lnTo>
                    <a:pt x="483" y="547"/>
                  </a:lnTo>
                  <a:lnTo>
                    <a:pt x="483" y="570"/>
                  </a:lnTo>
                  <a:lnTo>
                    <a:pt x="483" y="570"/>
                  </a:lnTo>
                  <a:lnTo>
                    <a:pt x="478" y="570"/>
                  </a:lnTo>
                  <a:lnTo>
                    <a:pt x="471" y="570"/>
                  </a:lnTo>
                  <a:lnTo>
                    <a:pt x="471" y="570"/>
                  </a:lnTo>
                  <a:lnTo>
                    <a:pt x="466" y="570"/>
                  </a:lnTo>
                  <a:lnTo>
                    <a:pt x="459" y="570"/>
                  </a:lnTo>
                  <a:lnTo>
                    <a:pt x="459" y="570"/>
                  </a:lnTo>
                  <a:lnTo>
                    <a:pt x="459" y="566"/>
                  </a:lnTo>
                  <a:lnTo>
                    <a:pt x="459" y="558"/>
                  </a:lnTo>
                  <a:lnTo>
                    <a:pt x="459" y="558"/>
                  </a:lnTo>
                  <a:lnTo>
                    <a:pt x="459" y="547"/>
                  </a:lnTo>
                  <a:lnTo>
                    <a:pt x="459" y="547"/>
                  </a:lnTo>
                  <a:lnTo>
                    <a:pt x="459" y="525"/>
                  </a:lnTo>
                  <a:lnTo>
                    <a:pt x="459" y="525"/>
                  </a:lnTo>
                  <a:lnTo>
                    <a:pt x="412" y="525"/>
                  </a:lnTo>
                  <a:lnTo>
                    <a:pt x="412" y="525"/>
                  </a:lnTo>
                  <a:lnTo>
                    <a:pt x="388" y="525"/>
                  </a:lnTo>
                  <a:lnTo>
                    <a:pt x="388" y="525"/>
                  </a:lnTo>
                  <a:lnTo>
                    <a:pt x="377" y="525"/>
                  </a:lnTo>
                  <a:lnTo>
                    <a:pt x="377" y="525"/>
                  </a:lnTo>
                  <a:lnTo>
                    <a:pt x="370" y="525"/>
                  </a:lnTo>
                  <a:lnTo>
                    <a:pt x="365" y="525"/>
                  </a:lnTo>
                  <a:lnTo>
                    <a:pt x="365" y="525"/>
                  </a:lnTo>
                  <a:lnTo>
                    <a:pt x="365" y="518"/>
                  </a:lnTo>
                  <a:lnTo>
                    <a:pt x="365" y="514"/>
                  </a:lnTo>
                  <a:lnTo>
                    <a:pt x="365" y="514"/>
                  </a:lnTo>
                  <a:lnTo>
                    <a:pt x="362" y="511"/>
                  </a:lnTo>
                  <a:lnTo>
                    <a:pt x="358" y="514"/>
                  </a:lnTo>
                  <a:lnTo>
                    <a:pt x="355" y="514"/>
                  </a:lnTo>
                  <a:lnTo>
                    <a:pt x="353" y="514"/>
                  </a:lnTo>
                  <a:lnTo>
                    <a:pt x="353" y="514"/>
                  </a:lnTo>
                  <a:lnTo>
                    <a:pt x="353" y="511"/>
                  </a:lnTo>
                  <a:lnTo>
                    <a:pt x="353" y="507"/>
                  </a:lnTo>
                  <a:lnTo>
                    <a:pt x="353" y="504"/>
                  </a:lnTo>
                  <a:lnTo>
                    <a:pt x="353" y="502"/>
                  </a:lnTo>
                  <a:lnTo>
                    <a:pt x="353" y="502"/>
                  </a:lnTo>
                  <a:lnTo>
                    <a:pt x="351" y="500"/>
                  </a:lnTo>
                  <a:lnTo>
                    <a:pt x="346" y="502"/>
                  </a:lnTo>
                  <a:lnTo>
                    <a:pt x="344" y="502"/>
                  </a:lnTo>
                  <a:lnTo>
                    <a:pt x="341" y="502"/>
                  </a:lnTo>
                  <a:lnTo>
                    <a:pt x="341" y="502"/>
                  </a:lnTo>
                  <a:lnTo>
                    <a:pt x="341" y="500"/>
                  </a:lnTo>
                  <a:lnTo>
                    <a:pt x="341" y="495"/>
                  </a:lnTo>
                  <a:lnTo>
                    <a:pt x="341" y="492"/>
                  </a:lnTo>
                  <a:lnTo>
                    <a:pt x="341" y="490"/>
                  </a:lnTo>
                  <a:lnTo>
                    <a:pt x="341" y="490"/>
                  </a:lnTo>
                  <a:lnTo>
                    <a:pt x="339" y="488"/>
                  </a:lnTo>
                  <a:lnTo>
                    <a:pt x="334" y="490"/>
                  </a:lnTo>
                  <a:lnTo>
                    <a:pt x="332" y="490"/>
                  </a:lnTo>
                  <a:lnTo>
                    <a:pt x="329" y="490"/>
                  </a:lnTo>
                  <a:lnTo>
                    <a:pt x="329" y="490"/>
                  </a:lnTo>
                  <a:lnTo>
                    <a:pt x="329" y="488"/>
                  </a:lnTo>
                  <a:lnTo>
                    <a:pt x="329" y="483"/>
                  </a:lnTo>
                  <a:lnTo>
                    <a:pt x="329" y="481"/>
                  </a:lnTo>
                  <a:lnTo>
                    <a:pt x="329" y="478"/>
                  </a:lnTo>
                  <a:lnTo>
                    <a:pt x="329" y="478"/>
                  </a:lnTo>
                  <a:lnTo>
                    <a:pt x="322" y="478"/>
                  </a:lnTo>
                  <a:lnTo>
                    <a:pt x="318" y="478"/>
                  </a:lnTo>
                  <a:lnTo>
                    <a:pt x="318" y="478"/>
                  </a:lnTo>
                  <a:lnTo>
                    <a:pt x="318" y="467"/>
                  </a:lnTo>
                  <a:lnTo>
                    <a:pt x="318" y="467"/>
                  </a:lnTo>
                  <a:lnTo>
                    <a:pt x="318" y="419"/>
                  </a:lnTo>
                  <a:lnTo>
                    <a:pt x="318" y="419"/>
                  </a:lnTo>
                  <a:lnTo>
                    <a:pt x="318" y="372"/>
                  </a:lnTo>
                  <a:lnTo>
                    <a:pt x="318" y="372"/>
                  </a:lnTo>
                  <a:lnTo>
                    <a:pt x="318" y="361"/>
                  </a:lnTo>
                  <a:lnTo>
                    <a:pt x="318" y="361"/>
                  </a:lnTo>
                  <a:lnTo>
                    <a:pt x="318" y="337"/>
                  </a:lnTo>
                  <a:lnTo>
                    <a:pt x="318" y="337"/>
                  </a:lnTo>
                  <a:lnTo>
                    <a:pt x="318" y="325"/>
                  </a:lnTo>
                  <a:lnTo>
                    <a:pt x="318" y="325"/>
                  </a:lnTo>
                  <a:lnTo>
                    <a:pt x="318" y="302"/>
                  </a:lnTo>
                  <a:lnTo>
                    <a:pt x="318" y="302"/>
                  </a:lnTo>
                  <a:lnTo>
                    <a:pt x="318" y="292"/>
                  </a:lnTo>
                  <a:lnTo>
                    <a:pt x="318" y="292"/>
                  </a:lnTo>
                  <a:lnTo>
                    <a:pt x="318" y="269"/>
                  </a:lnTo>
                  <a:lnTo>
                    <a:pt x="318" y="269"/>
                  </a:lnTo>
                  <a:lnTo>
                    <a:pt x="318" y="257"/>
                  </a:lnTo>
                  <a:lnTo>
                    <a:pt x="318" y="257"/>
                  </a:lnTo>
                  <a:lnTo>
                    <a:pt x="318" y="233"/>
                  </a:lnTo>
                  <a:lnTo>
                    <a:pt x="318" y="233"/>
                  </a:lnTo>
                  <a:lnTo>
                    <a:pt x="318" y="186"/>
                  </a:lnTo>
                  <a:lnTo>
                    <a:pt x="318" y="186"/>
                  </a:lnTo>
                  <a:lnTo>
                    <a:pt x="318" y="92"/>
                  </a:lnTo>
                  <a:lnTo>
                    <a:pt x="318" y="92"/>
                  </a:lnTo>
                  <a:lnTo>
                    <a:pt x="306" y="92"/>
                  </a:lnTo>
                  <a:lnTo>
                    <a:pt x="306" y="92"/>
                  </a:lnTo>
                  <a:lnTo>
                    <a:pt x="282" y="92"/>
                  </a:lnTo>
                  <a:lnTo>
                    <a:pt x="282" y="92"/>
                  </a:lnTo>
                  <a:lnTo>
                    <a:pt x="271" y="92"/>
                  </a:lnTo>
                  <a:lnTo>
                    <a:pt x="271" y="92"/>
                  </a:lnTo>
                  <a:lnTo>
                    <a:pt x="247" y="92"/>
                  </a:lnTo>
                  <a:lnTo>
                    <a:pt x="247" y="92"/>
                  </a:lnTo>
                  <a:lnTo>
                    <a:pt x="240" y="92"/>
                  </a:lnTo>
                  <a:lnTo>
                    <a:pt x="238" y="94"/>
                  </a:lnTo>
                  <a:lnTo>
                    <a:pt x="235" y="92"/>
                  </a:lnTo>
                  <a:lnTo>
                    <a:pt x="235" y="92"/>
                  </a:lnTo>
                  <a:lnTo>
                    <a:pt x="233" y="90"/>
                  </a:lnTo>
                  <a:lnTo>
                    <a:pt x="235" y="87"/>
                  </a:lnTo>
                  <a:lnTo>
                    <a:pt x="235" y="80"/>
                  </a:lnTo>
                  <a:lnTo>
                    <a:pt x="235" y="80"/>
                  </a:lnTo>
                  <a:lnTo>
                    <a:pt x="235" y="35"/>
                  </a:lnTo>
                  <a:lnTo>
                    <a:pt x="235" y="35"/>
                  </a:lnTo>
                  <a:lnTo>
                    <a:pt x="235" y="24"/>
                  </a:lnTo>
                  <a:lnTo>
                    <a:pt x="235" y="24"/>
                  </a:lnTo>
                  <a:lnTo>
                    <a:pt x="235" y="0"/>
                  </a:lnTo>
                  <a:lnTo>
                    <a:pt x="235" y="0"/>
                  </a:lnTo>
                  <a:lnTo>
                    <a:pt x="228" y="0"/>
                  </a:lnTo>
                  <a:lnTo>
                    <a:pt x="223" y="0"/>
                  </a:lnTo>
                  <a:lnTo>
                    <a:pt x="223" y="0"/>
                  </a:lnTo>
                  <a:lnTo>
                    <a:pt x="221" y="5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24"/>
                  </a:lnTo>
                  <a:lnTo>
                    <a:pt x="223" y="24"/>
                  </a:lnTo>
                  <a:lnTo>
                    <a:pt x="223" y="35"/>
                  </a:lnTo>
                  <a:lnTo>
                    <a:pt x="223" y="35"/>
                  </a:lnTo>
                  <a:lnTo>
                    <a:pt x="223" y="47"/>
                  </a:lnTo>
                  <a:lnTo>
                    <a:pt x="223" y="47"/>
                  </a:lnTo>
                  <a:lnTo>
                    <a:pt x="223" y="59"/>
                  </a:lnTo>
                  <a:lnTo>
                    <a:pt x="223" y="59"/>
                  </a:lnTo>
                  <a:lnTo>
                    <a:pt x="223" y="68"/>
                  </a:lnTo>
                  <a:lnTo>
                    <a:pt x="223" y="68"/>
                  </a:lnTo>
                  <a:lnTo>
                    <a:pt x="223" y="80"/>
                  </a:lnTo>
                  <a:lnTo>
                    <a:pt x="223" y="80"/>
                  </a:lnTo>
                  <a:lnTo>
                    <a:pt x="223" y="87"/>
                  </a:lnTo>
                  <a:lnTo>
                    <a:pt x="223" y="92"/>
                  </a:lnTo>
                  <a:lnTo>
                    <a:pt x="223" y="92"/>
                  </a:lnTo>
                  <a:lnTo>
                    <a:pt x="212" y="92"/>
                  </a:lnTo>
                  <a:lnTo>
                    <a:pt x="212" y="92"/>
                  </a:lnTo>
                  <a:lnTo>
                    <a:pt x="205" y="92"/>
                  </a:lnTo>
                  <a:lnTo>
                    <a:pt x="200" y="92"/>
                  </a:lnTo>
                  <a:lnTo>
                    <a:pt x="200" y="92"/>
                  </a:lnTo>
                  <a:lnTo>
                    <a:pt x="193" y="94"/>
                  </a:lnTo>
                  <a:lnTo>
                    <a:pt x="188" y="92"/>
                  </a:lnTo>
                  <a:lnTo>
                    <a:pt x="188" y="92"/>
                  </a:lnTo>
                  <a:lnTo>
                    <a:pt x="176" y="92"/>
                  </a:lnTo>
                  <a:lnTo>
                    <a:pt x="176" y="92"/>
                  </a:lnTo>
                  <a:lnTo>
                    <a:pt x="169" y="92"/>
                  </a:lnTo>
                  <a:lnTo>
                    <a:pt x="162" y="92"/>
                  </a:lnTo>
                  <a:lnTo>
                    <a:pt x="162" y="92"/>
                  </a:lnTo>
                  <a:lnTo>
                    <a:pt x="162" y="87"/>
                  </a:lnTo>
                  <a:lnTo>
                    <a:pt x="162" y="80"/>
                  </a:lnTo>
                  <a:lnTo>
                    <a:pt x="162" y="80"/>
                  </a:lnTo>
                  <a:lnTo>
                    <a:pt x="162" y="75"/>
                  </a:lnTo>
                  <a:lnTo>
                    <a:pt x="162" y="68"/>
                  </a:lnTo>
                  <a:lnTo>
                    <a:pt x="162" y="68"/>
                  </a:lnTo>
                  <a:lnTo>
                    <a:pt x="162" y="59"/>
                  </a:lnTo>
                  <a:lnTo>
                    <a:pt x="162" y="59"/>
                  </a:lnTo>
                  <a:lnTo>
                    <a:pt x="162" y="47"/>
                  </a:lnTo>
                  <a:lnTo>
                    <a:pt x="162" y="47"/>
                  </a:lnTo>
                  <a:lnTo>
                    <a:pt x="162" y="35"/>
                  </a:lnTo>
                  <a:lnTo>
                    <a:pt x="162" y="35"/>
                  </a:lnTo>
                  <a:lnTo>
                    <a:pt x="162" y="24"/>
                  </a:lnTo>
                  <a:lnTo>
                    <a:pt x="162" y="24"/>
                  </a:lnTo>
                  <a:lnTo>
                    <a:pt x="162" y="12"/>
                  </a:lnTo>
                  <a:lnTo>
                    <a:pt x="162" y="12"/>
                  </a:lnTo>
                  <a:lnTo>
                    <a:pt x="165" y="5"/>
                  </a:lnTo>
                  <a:lnTo>
                    <a:pt x="162" y="0"/>
                  </a:lnTo>
                  <a:lnTo>
                    <a:pt x="162" y="0"/>
                  </a:lnTo>
                  <a:lnTo>
                    <a:pt x="150" y="0"/>
                  </a:lnTo>
                  <a:lnTo>
                    <a:pt x="150" y="0"/>
                  </a:lnTo>
                  <a:lnTo>
                    <a:pt x="150" y="5"/>
                  </a:lnTo>
                  <a:lnTo>
                    <a:pt x="150" y="12"/>
                  </a:lnTo>
                  <a:lnTo>
                    <a:pt x="150" y="12"/>
                  </a:lnTo>
                  <a:lnTo>
                    <a:pt x="150" y="24"/>
                  </a:lnTo>
                  <a:lnTo>
                    <a:pt x="150" y="24"/>
                  </a:lnTo>
                  <a:lnTo>
                    <a:pt x="150" y="35"/>
                  </a:lnTo>
                  <a:lnTo>
                    <a:pt x="150" y="35"/>
                  </a:lnTo>
                  <a:lnTo>
                    <a:pt x="150" y="59"/>
                  </a:lnTo>
                  <a:lnTo>
                    <a:pt x="150" y="59"/>
                  </a:lnTo>
                  <a:lnTo>
                    <a:pt x="150" y="68"/>
                  </a:lnTo>
                  <a:lnTo>
                    <a:pt x="150" y="68"/>
                  </a:lnTo>
                  <a:lnTo>
                    <a:pt x="150" y="80"/>
                  </a:lnTo>
                  <a:lnTo>
                    <a:pt x="150" y="80"/>
                  </a:lnTo>
                  <a:lnTo>
                    <a:pt x="153" y="87"/>
                  </a:lnTo>
                  <a:lnTo>
                    <a:pt x="150" y="92"/>
                  </a:lnTo>
                  <a:lnTo>
                    <a:pt x="150" y="92"/>
                  </a:lnTo>
                  <a:lnTo>
                    <a:pt x="148" y="94"/>
                  </a:lnTo>
                  <a:lnTo>
                    <a:pt x="146" y="92"/>
                  </a:lnTo>
                  <a:lnTo>
                    <a:pt x="139" y="92"/>
                  </a:lnTo>
                  <a:lnTo>
                    <a:pt x="139" y="92"/>
                  </a:lnTo>
                  <a:lnTo>
                    <a:pt x="127" y="92"/>
                  </a:lnTo>
                  <a:lnTo>
                    <a:pt x="127" y="92"/>
                  </a:lnTo>
                  <a:lnTo>
                    <a:pt x="103" y="92"/>
                  </a:lnTo>
                  <a:lnTo>
                    <a:pt x="103" y="92"/>
                  </a:lnTo>
                  <a:lnTo>
                    <a:pt x="56" y="92"/>
                  </a:lnTo>
                  <a:lnTo>
                    <a:pt x="56" y="92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27"/>
                  </a:lnTo>
                  <a:lnTo>
                    <a:pt x="56" y="127"/>
                  </a:lnTo>
                  <a:lnTo>
                    <a:pt x="56" y="174"/>
                  </a:lnTo>
                  <a:lnTo>
                    <a:pt x="56" y="174"/>
                  </a:lnTo>
                  <a:lnTo>
                    <a:pt x="56" y="198"/>
                  </a:lnTo>
                  <a:lnTo>
                    <a:pt x="56" y="198"/>
                  </a:lnTo>
                  <a:lnTo>
                    <a:pt x="56" y="245"/>
                  </a:lnTo>
                  <a:lnTo>
                    <a:pt x="56" y="245"/>
                  </a:lnTo>
                  <a:lnTo>
                    <a:pt x="56" y="292"/>
                  </a:lnTo>
                  <a:lnTo>
                    <a:pt x="56" y="292"/>
                  </a:lnTo>
                  <a:lnTo>
                    <a:pt x="56" y="313"/>
                  </a:lnTo>
                  <a:lnTo>
                    <a:pt x="56" y="313"/>
                  </a:lnTo>
                  <a:lnTo>
                    <a:pt x="56" y="325"/>
                  </a:lnTo>
                  <a:lnTo>
                    <a:pt x="56" y="325"/>
                  </a:lnTo>
                  <a:lnTo>
                    <a:pt x="56" y="349"/>
                  </a:lnTo>
                  <a:lnTo>
                    <a:pt x="56" y="349"/>
                  </a:lnTo>
                  <a:lnTo>
                    <a:pt x="56" y="372"/>
                  </a:lnTo>
                  <a:lnTo>
                    <a:pt x="56" y="372"/>
                  </a:lnTo>
                  <a:lnTo>
                    <a:pt x="56" y="384"/>
                  </a:lnTo>
                  <a:lnTo>
                    <a:pt x="56" y="384"/>
                  </a:lnTo>
                  <a:lnTo>
                    <a:pt x="56" y="408"/>
                  </a:lnTo>
                  <a:lnTo>
                    <a:pt x="56" y="408"/>
                  </a:lnTo>
                  <a:lnTo>
                    <a:pt x="56" y="419"/>
                  </a:lnTo>
                  <a:lnTo>
                    <a:pt x="56" y="419"/>
                  </a:lnTo>
                  <a:lnTo>
                    <a:pt x="56" y="443"/>
                  </a:lnTo>
                  <a:lnTo>
                    <a:pt x="56" y="443"/>
                  </a:lnTo>
                  <a:lnTo>
                    <a:pt x="56" y="455"/>
                  </a:lnTo>
                  <a:lnTo>
                    <a:pt x="56" y="455"/>
                  </a:lnTo>
                  <a:lnTo>
                    <a:pt x="56" y="467"/>
                  </a:lnTo>
                  <a:lnTo>
                    <a:pt x="56" y="467"/>
                  </a:lnTo>
                  <a:lnTo>
                    <a:pt x="56" y="471"/>
                  </a:lnTo>
                  <a:lnTo>
                    <a:pt x="56" y="478"/>
                  </a:lnTo>
                  <a:lnTo>
                    <a:pt x="56" y="478"/>
                  </a:lnTo>
                  <a:lnTo>
                    <a:pt x="51" y="478"/>
                  </a:lnTo>
                  <a:lnTo>
                    <a:pt x="44" y="478"/>
                  </a:lnTo>
                  <a:lnTo>
                    <a:pt x="44" y="478"/>
                  </a:lnTo>
                  <a:lnTo>
                    <a:pt x="44" y="481"/>
                  </a:lnTo>
                  <a:lnTo>
                    <a:pt x="44" y="483"/>
                  </a:lnTo>
                  <a:lnTo>
                    <a:pt x="44" y="490"/>
                  </a:lnTo>
                  <a:lnTo>
                    <a:pt x="44" y="490"/>
                  </a:lnTo>
                  <a:lnTo>
                    <a:pt x="33" y="490"/>
                  </a:lnTo>
                  <a:lnTo>
                    <a:pt x="33" y="490"/>
                  </a:lnTo>
                  <a:lnTo>
                    <a:pt x="21" y="490"/>
                  </a:lnTo>
                  <a:lnTo>
                    <a:pt x="21" y="490"/>
                  </a:lnTo>
                  <a:lnTo>
                    <a:pt x="9" y="490"/>
                  </a:lnTo>
                  <a:lnTo>
                    <a:pt x="9" y="490"/>
                  </a:lnTo>
                  <a:lnTo>
                    <a:pt x="4" y="490"/>
                  </a:lnTo>
                  <a:lnTo>
                    <a:pt x="0" y="490"/>
                  </a:lnTo>
                  <a:lnTo>
                    <a:pt x="0" y="606"/>
                  </a:lnTo>
                  <a:lnTo>
                    <a:pt x="0" y="606"/>
                  </a:lnTo>
                  <a:lnTo>
                    <a:pt x="21" y="606"/>
                  </a:lnTo>
                  <a:lnTo>
                    <a:pt x="21" y="606"/>
                  </a:lnTo>
                  <a:lnTo>
                    <a:pt x="33" y="606"/>
                  </a:lnTo>
                  <a:lnTo>
                    <a:pt x="33" y="606"/>
                  </a:lnTo>
                  <a:lnTo>
                    <a:pt x="56" y="606"/>
                  </a:lnTo>
                  <a:lnTo>
                    <a:pt x="56" y="606"/>
                  </a:lnTo>
                  <a:lnTo>
                    <a:pt x="68" y="606"/>
                  </a:lnTo>
                  <a:lnTo>
                    <a:pt x="68" y="606"/>
                  </a:lnTo>
                  <a:lnTo>
                    <a:pt x="91" y="606"/>
                  </a:lnTo>
                  <a:lnTo>
                    <a:pt x="91" y="606"/>
                  </a:lnTo>
                  <a:lnTo>
                    <a:pt x="103" y="606"/>
                  </a:lnTo>
                  <a:lnTo>
                    <a:pt x="103" y="606"/>
                  </a:lnTo>
                  <a:lnTo>
                    <a:pt x="127" y="606"/>
                  </a:lnTo>
                  <a:lnTo>
                    <a:pt x="127" y="606"/>
                  </a:lnTo>
                  <a:lnTo>
                    <a:pt x="139" y="606"/>
                  </a:lnTo>
                  <a:lnTo>
                    <a:pt x="139" y="606"/>
                  </a:lnTo>
                  <a:lnTo>
                    <a:pt x="162" y="606"/>
                  </a:lnTo>
                  <a:lnTo>
                    <a:pt x="162" y="606"/>
                  </a:lnTo>
                  <a:lnTo>
                    <a:pt x="176" y="606"/>
                  </a:lnTo>
                  <a:lnTo>
                    <a:pt x="176" y="606"/>
                  </a:lnTo>
                  <a:lnTo>
                    <a:pt x="200" y="606"/>
                  </a:lnTo>
                  <a:lnTo>
                    <a:pt x="200" y="606"/>
                  </a:lnTo>
                  <a:lnTo>
                    <a:pt x="212" y="606"/>
                  </a:lnTo>
                  <a:lnTo>
                    <a:pt x="212" y="606"/>
                  </a:lnTo>
                  <a:lnTo>
                    <a:pt x="235" y="606"/>
                  </a:lnTo>
                  <a:lnTo>
                    <a:pt x="235" y="606"/>
                  </a:lnTo>
                  <a:lnTo>
                    <a:pt x="247" y="606"/>
                  </a:lnTo>
                  <a:lnTo>
                    <a:pt x="247" y="606"/>
                  </a:lnTo>
                  <a:lnTo>
                    <a:pt x="271" y="606"/>
                  </a:lnTo>
                  <a:lnTo>
                    <a:pt x="271" y="606"/>
                  </a:lnTo>
                  <a:lnTo>
                    <a:pt x="294" y="606"/>
                  </a:lnTo>
                  <a:lnTo>
                    <a:pt x="294" y="606"/>
                  </a:lnTo>
                  <a:lnTo>
                    <a:pt x="306" y="606"/>
                  </a:lnTo>
                  <a:lnTo>
                    <a:pt x="306" y="606"/>
                  </a:lnTo>
                  <a:lnTo>
                    <a:pt x="329" y="606"/>
                  </a:lnTo>
                  <a:lnTo>
                    <a:pt x="329" y="606"/>
                  </a:lnTo>
                  <a:lnTo>
                    <a:pt x="341" y="606"/>
                  </a:lnTo>
                  <a:lnTo>
                    <a:pt x="341" y="606"/>
                  </a:lnTo>
                  <a:lnTo>
                    <a:pt x="365" y="606"/>
                  </a:lnTo>
                  <a:lnTo>
                    <a:pt x="365" y="606"/>
                  </a:lnTo>
                  <a:lnTo>
                    <a:pt x="377" y="606"/>
                  </a:lnTo>
                  <a:lnTo>
                    <a:pt x="377" y="606"/>
                  </a:lnTo>
                  <a:lnTo>
                    <a:pt x="400" y="606"/>
                  </a:lnTo>
                  <a:lnTo>
                    <a:pt x="400" y="606"/>
                  </a:lnTo>
                  <a:lnTo>
                    <a:pt x="412" y="606"/>
                  </a:lnTo>
                  <a:lnTo>
                    <a:pt x="412" y="606"/>
                  </a:lnTo>
                  <a:lnTo>
                    <a:pt x="435" y="606"/>
                  </a:lnTo>
                  <a:lnTo>
                    <a:pt x="435" y="606"/>
                  </a:lnTo>
                  <a:lnTo>
                    <a:pt x="447" y="606"/>
                  </a:lnTo>
                  <a:lnTo>
                    <a:pt x="447" y="606"/>
                  </a:lnTo>
                  <a:lnTo>
                    <a:pt x="471" y="606"/>
                  </a:lnTo>
                  <a:lnTo>
                    <a:pt x="471" y="606"/>
                  </a:lnTo>
                  <a:lnTo>
                    <a:pt x="483" y="606"/>
                  </a:lnTo>
                  <a:lnTo>
                    <a:pt x="483" y="606"/>
                  </a:lnTo>
                  <a:lnTo>
                    <a:pt x="506" y="606"/>
                  </a:lnTo>
                  <a:lnTo>
                    <a:pt x="506" y="606"/>
                  </a:lnTo>
                  <a:lnTo>
                    <a:pt x="518" y="606"/>
                  </a:lnTo>
                  <a:lnTo>
                    <a:pt x="518" y="606"/>
                  </a:lnTo>
                  <a:lnTo>
                    <a:pt x="542" y="606"/>
                  </a:lnTo>
                  <a:lnTo>
                    <a:pt x="542" y="606"/>
                  </a:lnTo>
                  <a:lnTo>
                    <a:pt x="565" y="606"/>
                  </a:lnTo>
                  <a:lnTo>
                    <a:pt x="565" y="606"/>
                  </a:lnTo>
                  <a:lnTo>
                    <a:pt x="577" y="606"/>
                  </a:lnTo>
                  <a:lnTo>
                    <a:pt x="577" y="606"/>
                  </a:lnTo>
                  <a:lnTo>
                    <a:pt x="603" y="606"/>
                  </a:lnTo>
                  <a:lnTo>
                    <a:pt x="603" y="606"/>
                  </a:lnTo>
                  <a:lnTo>
                    <a:pt x="615" y="606"/>
                  </a:lnTo>
                  <a:lnTo>
                    <a:pt x="615" y="606"/>
                  </a:lnTo>
                  <a:lnTo>
                    <a:pt x="638" y="606"/>
                  </a:lnTo>
                  <a:lnTo>
                    <a:pt x="638" y="606"/>
                  </a:lnTo>
                  <a:lnTo>
                    <a:pt x="650" y="606"/>
                  </a:lnTo>
                  <a:lnTo>
                    <a:pt x="650" y="606"/>
                  </a:lnTo>
                  <a:lnTo>
                    <a:pt x="673" y="606"/>
                  </a:lnTo>
                  <a:lnTo>
                    <a:pt x="673" y="606"/>
                  </a:lnTo>
                  <a:lnTo>
                    <a:pt x="685" y="606"/>
                  </a:lnTo>
                  <a:lnTo>
                    <a:pt x="685" y="606"/>
                  </a:lnTo>
                  <a:lnTo>
                    <a:pt x="709" y="606"/>
                  </a:lnTo>
                  <a:lnTo>
                    <a:pt x="709" y="606"/>
                  </a:lnTo>
                  <a:lnTo>
                    <a:pt x="721" y="606"/>
                  </a:lnTo>
                  <a:lnTo>
                    <a:pt x="721" y="606"/>
                  </a:lnTo>
                  <a:lnTo>
                    <a:pt x="744" y="606"/>
                  </a:lnTo>
                  <a:lnTo>
                    <a:pt x="744" y="606"/>
                  </a:lnTo>
                  <a:lnTo>
                    <a:pt x="756" y="606"/>
                  </a:lnTo>
                  <a:lnTo>
                    <a:pt x="756" y="606"/>
                  </a:lnTo>
                  <a:lnTo>
                    <a:pt x="779" y="606"/>
                  </a:lnTo>
                  <a:lnTo>
                    <a:pt x="779" y="606"/>
                  </a:lnTo>
                  <a:lnTo>
                    <a:pt x="791" y="606"/>
                  </a:lnTo>
                  <a:lnTo>
                    <a:pt x="791" y="606"/>
                  </a:lnTo>
                  <a:lnTo>
                    <a:pt x="815" y="606"/>
                  </a:lnTo>
                  <a:lnTo>
                    <a:pt x="815" y="606"/>
                  </a:lnTo>
                  <a:lnTo>
                    <a:pt x="827" y="606"/>
                  </a:lnTo>
                  <a:lnTo>
                    <a:pt x="827" y="606"/>
                  </a:lnTo>
                  <a:lnTo>
                    <a:pt x="850" y="606"/>
                  </a:lnTo>
                  <a:lnTo>
                    <a:pt x="850" y="606"/>
                  </a:lnTo>
                  <a:lnTo>
                    <a:pt x="862" y="606"/>
                  </a:lnTo>
                  <a:lnTo>
                    <a:pt x="862" y="606"/>
                  </a:lnTo>
                  <a:lnTo>
                    <a:pt x="886" y="606"/>
                  </a:lnTo>
                  <a:lnTo>
                    <a:pt x="886" y="606"/>
                  </a:lnTo>
                  <a:lnTo>
                    <a:pt x="897" y="606"/>
                  </a:lnTo>
                  <a:lnTo>
                    <a:pt x="897" y="606"/>
                  </a:lnTo>
                  <a:lnTo>
                    <a:pt x="921" y="606"/>
                  </a:lnTo>
                  <a:lnTo>
                    <a:pt x="921" y="606"/>
                  </a:lnTo>
                  <a:lnTo>
                    <a:pt x="933" y="606"/>
                  </a:lnTo>
                  <a:lnTo>
                    <a:pt x="933" y="606"/>
                  </a:lnTo>
                  <a:lnTo>
                    <a:pt x="956" y="606"/>
                  </a:lnTo>
                  <a:lnTo>
                    <a:pt x="956" y="606"/>
                  </a:lnTo>
                  <a:lnTo>
                    <a:pt x="968" y="606"/>
                  </a:lnTo>
                  <a:lnTo>
                    <a:pt x="968" y="606"/>
                  </a:lnTo>
                  <a:lnTo>
                    <a:pt x="994" y="606"/>
                  </a:lnTo>
                  <a:lnTo>
                    <a:pt x="994" y="606"/>
                  </a:lnTo>
                  <a:lnTo>
                    <a:pt x="1006" y="606"/>
                  </a:lnTo>
                  <a:lnTo>
                    <a:pt x="1006" y="606"/>
                  </a:lnTo>
                  <a:lnTo>
                    <a:pt x="1029" y="606"/>
                  </a:lnTo>
                  <a:lnTo>
                    <a:pt x="1029" y="606"/>
                  </a:lnTo>
                  <a:lnTo>
                    <a:pt x="1041" y="606"/>
                  </a:lnTo>
                  <a:lnTo>
                    <a:pt x="1041" y="606"/>
                  </a:lnTo>
                  <a:lnTo>
                    <a:pt x="1065" y="606"/>
                  </a:lnTo>
                  <a:lnTo>
                    <a:pt x="1065" y="606"/>
                  </a:lnTo>
                  <a:lnTo>
                    <a:pt x="1076" y="606"/>
                  </a:lnTo>
                  <a:lnTo>
                    <a:pt x="1076" y="606"/>
                  </a:lnTo>
                  <a:lnTo>
                    <a:pt x="1100" y="606"/>
                  </a:lnTo>
                  <a:lnTo>
                    <a:pt x="1100" y="606"/>
                  </a:lnTo>
                  <a:lnTo>
                    <a:pt x="1123" y="606"/>
                  </a:lnTo>
                  <a:lnTo>
                    <a:pt x="1123" y="606"/>
                  </a:lnTo>
                  <a:lnTo>
                    <a:pt x="1135" y="606"/>
                  </a:lnTo>
                  <a:lnTo>
                    <a:pt x="1135" y="606"/>
                  </a:lnTo>
                  <a:lnTo>
                    <a:pt x="1159" y="606"/>
                  </a:lnTo>
                  <a:lnTo>
                    <a:pt x="1159" y="606"/>
                  </a:lnTo>
                  <a:lnTo>
                    <a:pt x="1171" y="606"/>
                  </a:lnTo>
                  <a:lnTo>
                    <a:pt x="1171" y="606"/>
                  </a:lnTo>
                  <a:lnTo>
                    <a:pt x="1194" y="606"/>
                  </a:lnTo>
                  <a:lnTo>
                    <a:pt x="1194" y="606"/>
                  </a:lnTo>
                  <a:lnTo>
                    <a:pt x="1206" y="606"/>
                  </a:lnTo>
                  <a:lnTo>
                    <a:pt x="1206" y="606"/>
                  </a:lnTo>
                  <a:lnTo>
                    <a:pt x="1230" y="606"/>
                  </a:lnTo>
                  <a:lnTo>
                    <a:pt x="1230" y="606"/>
                  </a:lnTo>
                  <a:lnTo>
                    <a:pt x="1241" y="606"/>
                  </a:lnTo>
                  <a:lnTo>
                    <a:pt x="1241" y="606"/>
                  </a:lnTo>
                  <a:lnTo>
                    <a:pt x="1265" y="606"/>
                  </a:lnTo>
                  <a:lnTo>
                    <a:pt x="1265" y="606"/>
                  </a:lnTo>
                  <a:lnTo>
                    <a:pt x="1277" y="606"/>
                  </a:lnTo>
                  <a:lnTo>
                    <a:pt x="1277" y="606"/>
                  </a:lnTo>
                  <a:lnTo>
                    <a:pt x="1300" y="606"/>
                  </a:lnTo>
                  <a:lnTo>
                    <a:pt x="1300" y="606"/>
                  </a:lnTo>
                  <a:lnTo>
                    <a:pt x="1312" y="606"/>
                  </a:lnTo>
                  <a:lnTo>
                    <a:pt x="1312" y="606"/>
                  </a:lnTo>
                  <a:lnTo>
                    <a:pt x="1336" y="606"/>
                  </a:lnTo>
                  <a:lnTo>
                    <a:pt x="1336" y="606"/>
                  </a:lnTo>
                  <a:lnTo>
                    <a:pt x="1347" y="606"/>
                  </a:lnTo>
                  <a:lnTo>
                    <a:pt x="1347" y="606"/>
                  </a:lnTo>
                  <a:lnTo>
                    <a:pt x="1371" y="606"/>
                  </a:lnTo>
                  <a:lnTo>
                    <a:pt x="1371" y="606"/>
                  </a:lnTo>
                  <a:lnTo>
                    <a:pt x="1397" y="606"/>
                  </a:lnTo>
                  <a:lnTo>
                    <a:pt x="1397" y="606"/>
                  </a:lnTo>
                  <a:lnTo>
                    <a:pt x="1409" y="606"/>
                  </a:lnTo>
                  <a:lnTo>
                    <a:pt x="1409" y="606"/>
                  </a:lnTo>
                  <a:lnTo>
                    <a:pt x="1432" y="606"/>
                  </a:lnTo>
                  <a:lnTo>
                    <a:pt x="1432" y="606"/>
                  </a:lnTo>
                  <a:lnTo>
                    <a:pt x="1444" y="606"/>
                  </a:lnTo>
                  <a:lnTo>
                    <a:pt x="1444" y="606"/>
                  </a:lnTo>
                  <a:lnTo>
                    <a:pt x="1468" y="606"/>
                  </a:lnTo>
                  <a:lnTo>
                    <a:pt x="1468" y="606"/>
                  </a:lnTo>
                  <a:lnTo>
                    <a:pt x="1479" y="606"/>
                  </a:lnTo>
                  <a:lnTo>
                    <a:pt x="1479" y="606"/>
                  </a:lnTo>
                  <a:lnTo>
                    <a:pt x="1503" y="606"/>
                  </a:lnTo>
                  <a:lnTo>
                    <a:pt x="1503" y="606"/>
                  </a:lnTo>
                  <a:lnTo>
                    <a:pt x="1515" y="606"/>
                  </a:lnTo>
                  <a:lnTo>
                    <a:pt x="1515" y="606"/>
                  </a:lnTo>
                  <a:lnTo>
                    <a:pt x="1538" y="606"/>
                  </a:lnTo>
                  <a:lnTo>
                    <a:pt x="1538" y="606"/>
                  </a:lnTo>
                  <a:lnTo>
                    <a:pt x="1550" y="606"/>
                  </a:lnTo>
                  <a:lnTo>
                    <a:pt x="1550" y="606"/>
                  </a:lnTo>
                  <a:lnTo>
                    <a:pt x="1574" y="606"/>
                  </a:lnTo>
                  <a:lnTo>
                    <a:pt x="1574" y="606"/>
                  </a:lnTo>
                  <a:lnTo>
                    <a:pt x="1585" y="606"/>
                  </a:lnTo>
                  <a:lnTo>
                    <a:pt x="1585" y="606"/>
                  </a:lnTo>
                  <a:lnTo>
                    <a:pt x="1609" y="606"/>
                  </a:lnTo>
                  <a:lnTo>
                    <a:pt x="1609" y="606"/>
                  </a:lnTo>
                  <a:lnTo>
                    <a:pt x="1621" y="606"/>
                  </a:lnTo>
                  <a:lnTo>
                    <a:pt x="1621" y="606"/>
                  </a:lnTo>
                  <a:lnTo>
                    <a:pt x="1644" y="606"/>
                  </a:lnTo>
                  <a:lnTo>
                    <a:pt x="1644" y="606"/>
                  </a:lnTo>
                  <a:lnTo>
                    <a:pt x="1668" y="606"/>
                  </a:lnTo>
                  <a:lnTo>
                    <a:pt x="1668" y="606"/>
                  </a:lnTo>
                  <a:lnTo>
                    <a:pt x="1680" y="606"/>
                  </a:lnTo>
                  <a:lnTo>
                    <a:pt x="1680" y="606"/>
                  </a:lnTo>
                  <a:lnTo>
                    <a:pt x="1703" y="606"/>
                  </a:lnTo>
                  <a:lnTo>
                    <a:pt x="1703" y="606"/>
                  </a:lnTo>
                  <a:lnTo>
                    <a:pt x="1715" y="606"/>
                  </a:lnTo>
                  <a:lnTo>
                    <a:pt x="1715" y="606"/>
                  </a:lnTo>
                  <a:lnTo>
                    <a:pt x="1738" y="606"/>
                  </a:lnTo>
                  <a:lnTo>
                    <a:pt x="1738" y="606"/>
                  </a:lnTo>
                  <a:lnTo>
                    <a:pt x="1750" y="606"/>
                  </a:lnTo>
                  <a:lnTo>
                    <a:pt x="1750" y="606"/>
                  </a:lnTo>
                  <a:lnTo>
                    <a:pt x="1774" y="606"/>
                  </a:lnTo>
                  <a:lnTo>
                    <a:pt x="1774" y="606"/>
                  </a:lnTo>
                  <a:lnTo>
                    <a:pt x="1786" y="606"/>
                  </a:lnTo>
                  <a:lnTo>
                    <a:pt x="1786" y="606"/>
                  </a:lnTo>
                  <a:lnTo>
                    <a:pt x="1812" y="606"/>
                  </a:lnTo>
                  <a:lnTo>
                    <a:pt x="1812" y="606"/>
                  </a:lnTo>
                  <a:lnTo>
                    <a:pt x="1823" y="606"/>
                  </a:lnTo>
                  <a:lnTo>
                    <a:pt x="1823" y="606"/>
                  </a:lnTo>
                  <a:lnTo>
                    <a:pt x="1847" y="606"/>
                  </a:lnTo>
                  <a:lnTo>
                    <a:pt x="1847" y="606"/>
                  </a:lnTo>
                  <a:lnTo>
                    <a:pt x="1859" y="606"/>
                  </a:lnTo>
                  <a:lnTo>
                    <a:pt x="1859" y="606"/>
                  </a:lnTo>
                  <a:lnTo>
                    <a:pt x="1882" y="606"/>
                  </a:lnTo>
                  <a:lnTo>
                    <a:pt x="1882" y="606"/>
                  </a:lnTo>
                  <a:lnTo>
                    <a:pt x="1894" y="606"/>
                  </a:lnTo>
                  <a:lnTo>
                    <a:pt x="1894" y="606"/>
                  </a:lnTo>
                  <a:lnTo>
                    <a:pt x="1918" y="606"/>
                  </a:lnTo>
                  <a:lnTo>
                    <a:pt x="1918" y="606"/>
                  </a:lnTo>
                  <a:lnTo>
                    <a:pt x="1929" y="606"/>
                  </a:lnTo>
                  <a:lnTo>
                    <a:pt x="1929" y="606"/>
                  </a:lnTo>
                  <a:lnTo>
                    <a:pt x="1953" y="606"/>
                  </a:lnTo>
                  <a:lnTo>
                    <a:pt x="1953" y="606"/>
                  </a:lnTo>
                  <a:lnTo>
                    <a:pt x="1965" y="606"/>
                  </a:lnTo>
                  <a:lnTo>
                    <a:pt x="1965" y="606"/>
                  </a:lnTo>
                  <a:lnTo>
                    <a:pt x="1988" y="606"/>
                  </a:lnTo>
                  <a:lnTo>
                    <a:pt x="1988" y="606"/>
                  </a:lnTo>
                  <a:lnTo>
                    <a:pt x="2000" y="606"/>
                  </a:lnTo>
                  <a:lnTo>
                    <a:pt x="2000" y="606"/>
                  </a:lnTo>
                  <a:lnTo>
                    <a:pt x="2024" y="606"/>
                  </a:lnTo>
                  <a:lnTo>
                    <a:pt x="2024" y="606"/>
                  </a:lnTo>
                  <a:lnTo>
                    <a:pt x="2035" y="606"/>
                  </a:lnTo>
                  <a:lnTo>
                    <a:pt x="2035" y="606"/>
                  </a:lnTo>
                  <a:lnTo>
                    <a:pt x="2059" y="606"/>
                  </a:lnTo>
                  <a:lnTo>
                    <a:pt x="2059" y="606"/>
                  </a:lnTo>
                  <a:lnTo>
                    <a:pt x="2071" y="606"/>
                  </a:lnTo>
                  <a:lnTo>
                    <a:pt x="2071" y="606"/>
                  </a:lnTo>
                  <a:lnTo>
                    <a:pt x="2094" y="606"/>
                  </a:lnTo>
                  <a:lnTo>
                    <a:pt x="2094" y="606"/>
                  </a:lnTo>
                  <a:lnTo>
                    <a:pt x="2106" y="606"/>
                  </a:lnTo>
                  <a:lnTo>
                    <a:pt x="2106" y="606"/>
                  </a:lnTo>
                  <a:lnTo>
                    <a:pt x="2130" y="606"/>
                  </a:lnTo>
                  <a:lnTo>
                    <a:pt x="2130" y="606"/>
                  </a:lnTo>
                  <a:lnTo>
                    <a:pt x="2141" y="606"/>
                  </a:lnTo>
                  <a:lnTo>
                    <a:pt x="2141" y="606"/>
                  </a:lnTo>
                  <a:lnTo>
                    <a:pt x="2165" y="606"/>
                  </a:lnTo>
                  <a:lnTo>
                    <a:pt x="2165" y="606"/>
                  </a:lnTo>
                  <a:lnTo>
                    <a:pt x="2177" y="606"/>
                  </a:lnTo>
                  <a:lnTo>
                    <a:pt x="2177" y="606"/>
                  </a:lnTo>
                  <a:lnTo>
                    <a:pt x="2200" y="606"/>
                  </a:lnTo>
                  <a:lnTo>
                    <a:pt x="2200" y="606"/>
                  </a:lnTo>
                  <a:lnTo>
                    <a:pt x="2214" y="606"/>
                  </a:lnTo>
                  <a:lnTo>
                    <a:pt x="2214" y="606"/>
                  </a:lnTo>
                  <a:lnTo>
                    <a:pt x="2238" y="606"/>
                  </a:lnTo>
                  <a:lnTo>
                    <a:pt x="2238" y="606"/>
                  </a:lnTo>
                  <a:lnTo>
                    <a:pt x="2262" y="606"/>
                  </a:lnTo>
                  <a:lnTo>
                    <a:pt x="2262" y="606"/>
                  </a:lnTo>
                  <a:lnTo>
                    <a:pt x="2273" y="606"/>
                  </a:lnTo>
                  <a:lnTo>
                    <a:pt x="2273" y="606"/>
                  </a:lnTo>
                  <a:lnTo>
                    <a:pt x="2297" y="606"/>
                  </a:lnTo>
                  <a:lnTo>
                    <a:pt x="2297" y="606"/>
                  </a:lnTo>
                  <a:lnTo>
                    <a:pt x="2344" y="606"/>
                  </a:lnTo>
                  <a:lnTo>
                    <a:pt x="2344" y="606"/>
                  </a:lnTo>
                  <a:lnTo>
                    <a:pt x="2344" y="582"/>
                  </a:lnTo>
                  <a:lnTo>
                    <a:pt x="2344" y="582"/>
                  </a:lnTo>
                  <a:lnTo>
                    <a:pt x="2344" y="570"/>
                  </a:lnTo>
                  <a:lnTo>
                    <a:pt x="2344" y="570"/>
                  </a:lnTo>
                  <a:lnTo>
                    <a:pt x="2344" y="547"/>
                  </a:lnTo>
                  <a:lnTo>
                    <a:pt x="2344" y="547"/>
                  </a:lnTo>
                  <a:lnTo>
                    <a:pt x="2344" y="525"/>
                  </a:lnTo>
                  <a:lnTo>
                    <a:pt x="2344" y="525"/>
                  </a:lnTo>
                  <a:lnTo>
                    <a:pt x="2344" y="518"/>
                  </a:lnTo>
                  <a:lnTo>
                    <a:pt x="2344" y="514"/>
                  </a:lnTo>
                  <a:lnTo>
                    <a:pt x="2344" y="514"/>
                  </a:lnTo>
                  <a:close/>
                </a:path>
              </a:pathLst>
            </a:custGeom>
            <a:solidFill>
              <a:schemeClr val="accent2">
                <a:alpha val="58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71" name="Group 70"/>
            <p:cNvGrpSpPr/>
            <p:nvPr/>
          </p:nvGrpSpPr>
          <p:grpSpPr>
            <a:xfrm>
              <a:off x="946150" y="2708929"/>
              <a:ext cx="3451225" cy="962025"/>
              <a:chOff x="1447800" y="1524000"/>
              <a:chExt cx="3451225" cy="962025"/>
            </a:xfrm>
            <a:grpFill/>
          </p:grpSpPr>
          <p:sp>
            <p:nvSpPr>
              <p:cNvPr id="74" name="Freeform 73"/>
              <p:cNvSpPr>
                <a:spLocks/>
              </p:cNvSpPr>
              <p:nvPr/>
            </p:nvSpPr>
            <p:spPr bwMode="auto">
              <a:xfrm>
                <a:off x="1962150" y="2246313"/>
                <a:ext cx="55563" cy="19050"/>
              </a:xfrm>
              <a:custGeom>
                <a:avLst/>
                <a:gdLst>
                  <a:gd name="T0" fmla="*/ 35 w 35"/>
                  <a:gd name="T1" fmla="*/ 0 h 12"/>
                  <a:gd name="T2" fmla="*/ 35 w 35"/>
                  <a:gd name="T3" fmla="*/ 0 h 12"/>
                  <a:gd name="T4" fmla="*/ 28 w 35"/>
                  <a:gd name="T5" fmla="*/ 0 h 12"/>
                  <a:gd name="T6" fmla="*/ 24 w 35"/>
                  <a:gd name="T7" fmla="*/ 0 h 12"/>
                  <a:gd name="T8" fmla="*/ 24 w 35"/>
                  <a:gd name="T9" fmla="*/ 0 h 12"/>
                  <a:gd name="T10" fmla="*/ 12 w 35"/>
                  <a:gd name="T11" fmla="*/ 0 h 12"/>
                  <a:gd name="T12" fmla="*/ 12 w 35"/>
                  <a:gd name="T13" fmla="*/ 0 h 12"/>
                  <a:gd name="T14" fmla="*/ 5 w 35"/>
                  <a:gd name="T15" fmla="*/ 0 h 12"/>
                  <a:gd name="T16" fmla="*/ 0 w 35"/>
                  <a:gd name="T17" fmla="*/ 0 h 12"/>
                  <a:gd name="T18" fmla="*/ 0 w 35"/>
                  <a:gd name="T19" fmla="*/ 0 h 12"/>
                  <a:gd name="T20" fmla="*/ 0 w 35"/>
                  <a:gd name="T21" fmla="*/ 12 h 12"/>
                  <a:gd name="T22" fmla="*/ 0 w 35"/>
                  <a:gd name="T23" fmla="*/ 12 h 12"/>
                  <a:gd name="T24" fmla="*/ 5 w 35"/>
                  <a:gd name="T25" fmla="*/ 12 h 12"/>
                  <a:gd name="T26" fmla="*/ 12 w 35"/>
                  <a:gd name="T27" fmla="*/ 12 h 12"/>
                  <a:gd name="T28" fmla="*/ 12 w 35"/>
                  <a:gd name="T29" fmla="*/ 12 h 12"/>
                  <a:gd name="T30" fmla="*/ 24 w 35"/>
                  <a:gd name="T31" fmla="*/ 12 h 12"/>
                  <a:gd name="T32" fmla="*/ 24 w 35"/>
                  <a:gd name="T33" fmla="*/ 12 h 12"/>
                  <a:gd name="T34" fmla="*/ 35 w 35"/>
                  <a:gd name="T35" fmla="*/ 12 h 12"/>
                  <a:gd name="T36" fmla="*/ 35 w 35"/>
                  <a:gd name="T37" fmla="*/ 12 h 12"/>
                  <a:gd name="T38" fmla="*/ 35 w 35"/>
                  <a:gd name="T39" fmla="*/ 4 h 12"/>
                  <a:gd name="T40" fmla="*/ 35 w 35"/>
                  <a:gd name="T41" fmla="*/ 0 h 12"/>
                  <a:gd name="T42" fmla="*/ 35 w 35"/>
                  <a:gd name="T43" fmla="*/ 0 h 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35" h="12">
                    <a:moveTo>
                      <a:pt x="35" y="0"/>
                    </a:moveTo>
                    <a:lnTo>
                      <a:pt x="35" y="0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5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5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35" y="12"/>
                    </a:lnTo>
                    <a:lnTo>
                      <a:pt x="35" y="12"/>
                    </a:lnTo>
                    <a:lnTo>
                      <a:pt x="35" y="4"/>
                    </a:lnTo>
                    <a:lnTo>
                      <a:pt x="35" y="0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5" name="Freeform 74"/>
              <p:cNvSpPr>
                <a:spLocks/>
              </p:cNvSpPr>
              <p:nvPr/>
            </p:nvSpPr>
            <p:spPr bwMode="auto">
              <a:xfrm flipH="1">
                <a:off x="1447800" y="1524000"/>
                <a:ext cx="3451225" cy="962025"/>
              </a:xfrm>
              <a:custGeom>
                <a:avLst/>
                <a:gdLst>
                  <a:gd name="T0" fmla="*/ 2323 w 2338"/>
                  <a:gd name="T1" fmla="*/ 455 h 606"/>
                  <a:gd name="T2" fmla="*/ 2265 w 2338"/>
                  <a:gd name="T3" fmla="*/ 412 h 606"/>
                  <a:gd name="T4" fmla="*/ 2253 w 2338"/>
                  <a:gd name="T5" fmla="*/ 280 h 606"/>
                  <a:gd name="T6" fmla="*/ 2253 w 2338"/>
                  <a:gd name="T7" fmla="*/ 127 h 606"/>
                  <a:gd name="T8" fmla="*/ 2229 w 2338"/>
                  <a:gd name="T9" fmla="*/ 57 h 606"/>
                  <a:gd name="T10" fmla="*/ 2210 w 2338"/>
                  <a:gd name="T11" fmla="*/ 35 h 606"/>
                  <a:gd name="T12" fmla="*/ 2182 w 2338"/>
                  <a:gd name="T13" fmla="*/ 12 h 606"/>
                  <a:gd name="T14" fmla="*/ 2147 w 2338"/>
                  <a:gd name="T15" fmla="*/ 12 h 606"/>
                  <a:gd name="T16" fmla="*/ 2133 w 2338"/>
                  <a:gd name="T17" fmla="*/ 35 h 606"/>
                  <a:gd name="T18" fmla="*/ 2085 w 2338"/>
                  <a:gd name="T19" fmla="*/ 68 h 606"/>
                  <a:gd name="T20" fmla="*/ 2074 w 2338"/>
                  <a:gd name="T21" fmla="*/ 163 h 606"/>
                  <a:gd name="T22" fmla="*/ 2062 w 2338"/>
                  <a:gd name="T23" fmla="*/ 257 h 606"/>
                  <a:gd name="T24" fmla="*/ 2034 w 2338"/>
                  <a:gd name="T25" fmla="*/ 325 h 606"/>
                  <a:gd name="T26" fmla="*/ 2027 w 2338"/>
                  <a:gd name="T27" fmla="*/ 467 h 606"/>
                  <a:gd name="T28" fmla="*/ 1979 w 2338"/>
                  <a:gd name="T29" fmla="*/ 467 h 606"/>
                  <a:gd name="T30" fmla="*/ 1956 w 2338"/>
                  <a:gd name="T31" fmla="*/ 419 h 606"/>
                  <a:gd name="T32" fmla="*/ 1791 w 2338"/>
                  <a:gd name="T33" fmla="*/ 349 h 606"/>
                  <a:gd name="T34" fmla="*/ 1635 w 2338"/>
                  <a:gd name="T35" fmla="*/ 535 h 606"/>
                  <a:gd name="T36" fmla="*/ 1612 w 2338"/>
                  <a:gd name="T37" fmla="*/ 478 h 606"/>
                  <a:gd name="T38" fmla="*/ 1612 w 2338"/>
                  <a:gd name="T39" fmla="*/ 313 h 606"/>
                  <a:gd name="T40" fmla="*/ 1572 w 2338"/>
                  <a:gd name="T41" fmla="*/ 280 h 606"/>
                  <a:gd name="T42" fmla="*/ 1553 w 2338"/>
                  <a:gd name="T43" fmla="*/ 221 h 606"/>
                  <a:gd name="T44" fmla="*/ 1447 w 2338"/>
                  <a:gd name="T45" fmla="*/ 198 h 606"/>
                  <a:gd name="T46" fmla="*/ 1353 w 2338"/>
                  <a:gd name="T47" fmla="*/ 203 h 606"/>
                  <a:gd name="T48" fmla="*/ 1268 w 2338"/>
                  <a:gd name="T49" fmla="*/ 221 h 606"/>
                  <a:gd name="T50" fmla="*/ 1233 w 2338"/>
                  <a:gd name="T51" fmla="*/ 269 h 606"/>
                  <a:gd name="T52" fmla="*/ 1233 w 2338"/>
                  <a:gd name="T53" fmla="*/ 408 h 606"/>
                  <a:gd name="T54" fmla="*/ 1162 w 2338"/>
                  <a:gd name="T55" fmla="*/ 467 h 606"/>
                  <a:gd name="T56" fmla="*/ 1009 w 2338"/>
                  <a:gd name="T57" fmla="*/ 455 h 606"/>
                  <a:gd name="T58" fmla="*/ 891 w 2338"/>
                  <a:gd name="T59" fmla="*/ 443 h 606"/>
                  <a:gd name="T60" fmla="*/ 830 w 2338"/>
                  <a:gd name="T61" fmla="*/ 467 h 606"/>
                  <a:gd name="T62" fmla="*/ 700 w 2338"/>
                  <a:gd name="T63" fmla="*/ 547 h 606"/>
                  <a:gd name="T64" fmla="*/ 629 w 2338"/>
                  <a:gd name="T65" fmla="*/ 525 h 606"/>
                  <a:gd name="T66" fmla="*/ 606 w 2338"/>
                  <a:gd name="T67" fmla="*/ 525 h 606"/>
                  <a:gd name="T68" fmla="*/ 547 w 2338"/>
                  <a:gd name="T69" fmla="*/ 547 h 606"/>
                  <a:gd name="T70" fmla="*/ 474 w 2338"/>
                  <a:gd name="T71" fmla="*/ 525 h 606"/>
                  <a:gd name="T72" fmla="*/ 523 w 2338"/>
                  <a:gd name="T73" fmla="*/ 467 h 606"/>
                  <a:gd name="T74" fmla="*/ 474 w 2338"/>
                  <a:gd name="T75" fmla="*/ 313 h 606"/>
                  <a:gd name="T76" fmla="*/ 403 w 2338"/>
                  <a:gd name="T77" fmla="*/ 292 h 606"/>
                  <a:gd name="T78" fmla="*/ 250 w 2338"/>
                  <a:gd name="T79" fmla="*/ 221 h 606"/>
                  <a:gd name="T80" fmla="*/ 132 w 2338"/>
                  <a:gd name="T81" fmla="*/ 292 h 606"/>
                  <a:gd name="T82" fmla="*/ 47 w 2338"/>
                  <a:gd name="T83" fmla="*/ 349 h 606"/>
                  <a:gd name="T84" fmla="*/ 47 w 2338"/>
                  <a:gd name="T85" fmla="*/ 514 h 606"/>
                  <a:gd name="T86" fmla="*/ 0 w 2338"/>
                  <a:gd name="T87" fmla="*/ 570 h 606"/>
                  <a:gd name="T88" fmla="*/ 109 w 2338"/>
                  <a:gd name="T89" fmla="*/ 606 h 606"/>
                  <a:gd name="T90" fmla="*/ 262 w 2338"/>
                  <a:gd name="T91" fmla="*/ 606 h 606"/>
                  <a:gd name="T92" fmla="*/ 403 w 2338"/>
                  <a:gd name="T93" fmla="*/ 606 h 606"/>
                  <a:gd name="T94" fmla="*/ 547 w 2338"/>
                  <a:gd name="T95" fmla="*/ 606 h 606"/>
                  <a:gd name="T96" fmla="*/ 700 w 2338"/>
                  <a:gd name="T97" fmla="*/ 606 h 606"/>
                  <a:gd name="T98" fmla="*/ 841 w 2338"/>
                  <a:gd name="T99" fmla="*/ 606 h 606"/>
                  <a:gd name="T100" fmla="*/ 985 w 2338"/>
                  <a:gd name="T101" fmla="*/ 606 h 606"/>
                  <a:gd name="T102" fmla="*/ 1127 w 2338"/>
                  <a:gd name="T103" fmla="*/ 606 h 606"/>
                  <a:gd name="T104" fmla="*/ 1268 w 2338"/>
                  <a:gd name="T105" fmla="*/ 606 h 606"/>
                  <a:gd name="T106" fmla="*/ 1412 w 2338"/>
                  <a:gd name="T107" fmla="*/ 606 h 606"/>
                  <a:gd name="T108" fmla="*/ 1565 w 2338"/>
                  <a:gd name="T109" fmla="*/ 606 h 606"/>
                  <a:gd name="T110" fmla="*/ 1709 w 2338"/>
                  <a:gd name="T111" fmla="*/ 606 h 606"/>
                  <a:gd name="T112" fmla="*/ 1850 w 2338"/>
                  <a:gd name="T113" fmla="*/ 606 h 606"/>
                  <a:gd name="T114" fmla="*/ 1991 w 2338"/>
                  <a:gd name="T115" fmla="*/ 606 h 606"/>
                  <a:gd name="T116" fmla="*/ 2135 w 2338"/>
                  <a:gd name="T117" fmla="*/ 606 h 606"/>
                  <a:gd name="T118" fmla="*/ 2276 w 2338"/>
                  <a:gd name="T119" fmla="*/ 606 h 6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38" h="606">
                    <a:moveTo>
                      <a:pt x="2338" y="490"/>
                    </a:moveTo>
                    <a:lnTo>
                      <a:pt x="2338" y="490"/>
                    </a:lnTo>
                    <a:lnTo>
                      <a:pt x="2335" y="490"/>
                    </a:lnTo>
                    <a:lnTo>
                      <a:pt x="2335" y="490"/>
                    </a:lnTo>
                    <a:lnTo>
                      <a:pt x="2335" y="488"/>
                    </a:lnTo>
                    <a:lnTo>
                      <a:pt x="2335" y="483"/>
                    </a:lnTo>
                    <a:lnTo>
                      <a:pt x="2335" y="478"/>
                    </a:lnTo>
                    <a:lnTo>
                      <a:pt x="2335" y="478"/>
                    </a:lnTo>
                    <a:lnTo>
                      <a:pt x="2328" y="478"/>
                    </a:lnTo>
                    <a:lnTo>
                      <a:pt x="2323" y="478"/>
                    </a:lnTo>
                    <a:lnTo>
                      <a:pt x="2323" y="478"/>
                    </a:lnTo>
                    <a:lnTo>
                      <a:pt x="2323" y="471"/>
                    </a:lnTo>
                    <a:lnTo>
                      <a:pt x="2323" y="467"/>
                    </a:lnTo>
                    <a:lnTo>
                      <a:pt x="2323" y="467"/>
                    </a:lnTo>
                    <a:lnTo>
                      <a:pt x="2323" y="455"/>
                    </a:lnTo>
                    <a:lnTo>
                      <a:pt x="2323" y="455"/>
                    </a:lnTo>
                    <a:lnTo>
                      <a:pt x="2323" y="431"/>
                    </a:lnTo>
                    <a:lnTo>
                      <a:pt x="2323" y="431"/>
                    </a:lnTo>
                    <a:lnTo>
                      <a:pt x="2323" y="408"/>
                    </a:lnTo>
                    <a:lnTo>
                      <a:pt x="2323" y="408"/>
                    </a:lnTo>
                    <a:lnTo>
                      <a:pt x="2312" y="408"/>
                    </a:lnTo>
                    <a:lnTo>
                      <a:pt x="2312" y="408"/>
                    </a:lnTo>
                    <a:lnTo>
                      <a:pt x="2300" y="408"/>
                    </a:lnTo>
                    <a:lnTo>
                      <a:pt x="2300" y="408"/>
                    </a:lnTo>
                    <a:lnTo>
                      <a:pt x="2288" y="408"/>
                    </a:lnTo>
                    <a:lnTo>
                      <a:pt x="2288" y="408"/>
                    </a:lnTo>
                    <a:lnTo>
                      <a:pt x="2276" y="408"/>
                    </a:lnTo>
                    <a:lnTo>
                      <a:pt x="2276" y="408"/>
                    </a:lnTo>
                    <a:lnTo>
                      <a:pt x="2269" y="408"/>
                    </a:lnTo>
                    <a:lnTo>
                      <a:pt x="2265" y="408"/>
                    </a:lnTo>
                    <a:lnTo>
                      <a:pt x="2265" y="408"/>
                    </a:lnTo>
                    <a:lnTo>
                      <a:pt x="2265" y="412"/>
                    </a:lnTo>
                    <a:lnTo>
                      <a:pt x="2265" y="419"/>
                    </a:lnTo>
                    <a:lnTo>
                      <a:pt x="2265" y="419"/>
                    </a:lnTo>
                    <a:lnTo>
                      <a:pt x="2262" y="419"/>
                    </a:lnTo>
                    <a:lnTo>
                      <a:pt x="2257" y="419"/>
                    </a:lnTo>
                    <a:lnTo>
                      <a:pt x="2253" y="419"/>
                    </a:lnTo>
                    <a:lnTo>
                      <a:pt x="2253" y="419"/>
                    </a:lnTo>
                    <a:lnTo>
                      <a:pt x="2253" y="372"/>
                    </a:lnTo>
                    <a:lnTo>
                      <a:pt x="2253" y="372"/>
                    </a:lnTo>
                    <a:lnTo>
                      <a:pt x="2253" y="325"/>
                    </a:lnTo>
                    <a:lnTo>
                      <a:pt x="2253" y="325"/>
                    </a:lnTo>
                    <a:lnTo>
                      <a:pt x="2253" y="313"/>
                    </a:lnTo>
                    <a:lnTo>
                      <a:pt x="2253" y="313"/>
                    </a:lnTo>
                    <a:lnTo>
                      <a:pt x="2253" y="292"/>
                    </a:lnTo>
                    <a:lnTo>
                      <a:pt x="2253" y="292"/>
                    </a:lnTo>
                    <a:lnTo>
                      <a:pt x="2253" y="280"/>
                    </a:lnTo>
                    <a:lnTo>
                      <a:pt x="2253" y="280"/>
                    </a:lnTo>
                    <a:lnTo>
                      <a:pt x="2253" y="257"/>
                    </a:lnTo>
                    <a:lnTo>
                      <a:pt x="2253" y="257"/>
                    </a:lnTo>
                    <a:lnTo>
                      <a:pt x="2253" y="245"/>
                    </a:lnTo>
                    <a:lnTo>
                      <a:pt x="2253" y="245"/>
                    </a:lnTo>
                    <a:lnTo>
                      <a:pt x="2253" y="221"/>
                    </a:lnTo>
                    <a:lnTo>
                      <a:pt x="2253" y="221"/>
                    </a:lnTo>
                    <a:lnTo>
                      <a:pt x="2253" y="210"/>
                    </a:lnTo>
                    <a:lnTo>
                      <a:pt x="2253" y="210"/>
                    </a:lnTo>
                    <a:lnTo>
                      <a:pt x="2253" y="186"/>
                    </a:lnTo>
                    <a:lnTo>
                      <a:pt x="2253" y="186"/>
                    </a:lnTo>
                    <a:lnTo>
                      <a:pt x="2253" y="174"/>
                    </a:lnTo>
                    <a:lnTo>
                      <a:pt x="2253" y="174"/>
                    </a:lnTo>
                    <a:lnTo>
                      <a:pt x="2253" y="151"/>
                    </a:lnTo>
                    <a:lnTo>
                      <a:pt x="2253" y="151"/>
                    </a:lnTo>
                    <a:lnTo>
                      <a:pt x="2253" y="127"/>
                    </a:lnTo>
                    <a:lnTo>
                      <a:pt x="2253" y="127"/>
                    </a:lnTo>
                    <a:lnTo>
                      <a:pt x="2253" y="80"/>
                    </a:lnTo>
                    <a:lnTo>
                      <a:pt x="2253" y="80"/>
                    </a:lnTo>
                    <a:lnTo>
                      <a:pt x="2253" y="68"/>
                    </a:lnTo>
                    <a:lnTo>
                      <a:pt x="2253" y="68"/>
                    </a:lnTo>
                    <a:lnTo>
                      <a:pt x="2246" y="71"/>
                    </a:lnTo>
                    <a:lnTo>
                      <a:pt x="2241" y="68"/>
                    </a:lnTo>
                    <a:lnTo>
                      <a:pt x="2241" y="68"/>
                    </a:lnTo>
                    <a:lnTo>
                      <a:pt x="2241" y="64"/>
                    </a:lnTo>
                    <a:lnTo>
                      <a:pt x="2241" y="59"/>
                    </a:lnTo>
                    <a:lnTo>
                      <a:pt x="2241" y="59"/>
                    </a:lnTo>
                    <a:lnTo>
                      <a:pt x="2239" y="57"/>
                    </a:lnTo>
                    <a:lnTo>
                      <a:pt x="2234" y="57"/>
                    </a:lnTo>
                    <a:lnTo>
                      <a:pt x="2232" y="59"/>
                    </a:lnTo>
                    <a:lnTo>
                      <a:pt x="2229" y="59"/>
                    </a:lnTo>
                    <a:lnTo>
                      <a:pt x="2229" y="59"/>
                    </a:lnTo>
                    <a:lnTo>
                      <a:pt x="2229" y="57"/>
                    </a:lnTo>
                    <a:lnTo>
                      <a:pt x="2229" y="52"/>
                    </a:lnTo>
                    <a:lnTo>
                      <a:pt x="2229" y="49"/>
                    </a:lnTo>
                    <a:lnTo>
                      <a:pt x="2229" y="47"/>
                    </a:lnTo>
                    <a:lnTo>
                      <a:pt x="2229" y="47"/>
                    </a:lnTo>
                    <a:lnTo>
                      <a:pt x="2227" y="45"/>
                    </a:lnTo>
                    <a:lnTo>
                      <a:pt x="2222" y="47"/>
                    </a:lnTo>
                    <a:lnTo>
                      <a:pt x="2220" y="47"/>
                    </a:lnTo>
                    <a:lnTo>
                      <a:pt x="2217" y="47"/>
                    </a:lnTo>
                    <a:lnTo>
                      <a:pt x="2217" y="47"/>
                    </a:lnTo>
                    <a:lnTo>
                      <a:pt x="2217" y="45"/>
                    </a:lnTo>
                    <a:lnTo>
                      <a:pt x="2217" y="40"/>
                    </a:lnTo>
                    <a:lnTo>
                      <a:pt x="2217" y="38"/>
                    </a:lnTo>
                    <a:lnTo>
                      <a:pt x="2217" y="35"/>
                    </a:lnTo>
                    <a:lnTo>
                      <a:pt x="2217" y="35"/>
                    </a:lnTo>
                    <a:lnTo>
                      <a:pt x="2215" y="33"/>
                    </a:lnTo>
                    <a:lnTo>
                      <a:pt x="2210" y="35"/>
                    </a:lnTo>
                    <a:lnTo>
                      <a:pt x="2206" y="35"/>
                    </a:lnTo>
                    <a:lnTo>
                      <a:pt x="2206" y="35"/>
                    </a:lnTo>
                    <a:lnTo>
                      <a:pt x="2206" y="28"/>
                    </a:lnTo>
                    <a:lnTo>
                      <a:pt x="2206" y="26"/>
                    </a:lnTo>
                    <a:lnTo>
                      <a:pt x="2206" y="24"/>
                    </a:lnTo>
                    <a:lnTo>
                      <a:pt x="2206" y="24"/>
                    </a:lnTo>
                    <a:lnTo>
                      <a:pt x="2199" y="24"/>
                    </a:lnTo>
                    <a:lnTo>
                      <a:pt x="2196" y="24"/>
                    </a:lnTo>
                    <a:lnTo>
                      <a:pt x="2194" y="24"/>
                    </a:lnTo>
                    <a:lnTo>
                      <a:pt x="2194" y="24"/>
                    </a:lnTo>
                    <a:lnTo>
                      <a:pt x="2192" y="21"/>
                    </a:lnTo>
                    <a:lnTo>
                      <a:pt x="2194" y="16"/>
                    </a:lnTo>
                    <a:lnTo>
                      <a:pt x="2194" y="12"/>
                    </a:lnTo>
                    <a:lnTo>
                      <a:pt x="2194" y="12"/>
                    </a:lnTo>
                    <a:lnTo>
                      <a:pt x="2187" y="12"/>
                    </a:lnTo>
                    <a:lnTo>
                      <a:pt x="2182" y="12"/>
                    </a:lnTo>
                    <a:lnTo>
                      <a:pt x="2182" y="12"/>
                    </a:lnTo>
                    <a:lnTo>
                      <a:pt x="2180" y="9"/>
                    </a:lnTo>
                    <a:lnTo>
                      <a:pt x="2182" y="5"/>
                    </a:lnTo>
                    <a:lnTo>
                      <a:pt x="2182" y="0"/>
                    </a:lnTo>
                    <a:lnTo>
                      <a:pt x="2182" y="0"/>
                    </a:lnTo>
                    <a:lnTo>
                      <a:pt x="2170" y="0"/>
                    </a:lnTo>
                    <a:lnTo>
                      <a:pt x="2170" y="0"/>
                    </a:lnTo>
                    <a:lnTo>
                      <a:pt x="2163" y="0"/>
                    </a:lnTo>
                    <a:lnTo>
                      <a:pt x="2159" y="0"/>
                    </a:lnTo>
                    <a:lnTo>
                      <a:pt x="2159" y="0"/>
                    </a:lnTo>
                    <a:lnTo>
                      <a:pt x="2159" y="5"/>
                    </a:lnTo>
                    <a:lnTo>
                      <a:pt x="2159" y="12"/>
                    </a:lnTo>
                    <a:lnTo>
                      <a:pt x="2159" y="12"/>
                    </a:lnTo>
                    <a:lnTo>
                      <a:pt x="2156" y="12"/>
                    </a:lnTo>
                    <a:lnTo>
                      <a:pt x="2151" y="12"/>
                    </a:lnTo>
                    <a:lnTo>
                      <a:pt x="2147" y="12"/>
                    </a:lnTo>
                    <a:lnTo>
                      <a:pt x="2147" y="12"/>
                    </a:lnTo>
                    <a:lnTo>
                      <a:pt x="2144" y="14"/>
                    </a:lnTo>
                    <a:lnTo>
                      <a:pt x="2147" y="16"/>
                    </a:lnTo>
                    <a:lnTo>
                      <a:pt x="2147" y="24"/>
                    </a:lnTo>
                    <a:lnTo>
                      <a:pt x="2147" y="24"/>
                    </a:lnTo>
                    <a:lnTo>
                      <a:pt x="2144" y="24"/>
                    </a:lnTo>
                    <a:lnTo>
                      <a:pt x="2140" y="24"/>
                    </a:lnTo>
                    <a:lnTo>
                      <a:pt x="2137" y="21"/>
                    </a:lnTo>
                    <a:lnTo>
                      <a:pt x="2135" y="24"/>
                    </a:lnTo>
                    <a:lnTo>
                      <a:pt x="2135" y="24"/>
                    </a:lnTo>
                    <a:lnTo>
                      <a:pt x="2133" y="26"/>
                    </a:lnTo>
                    <a:lnTo>
                      <a:pt x="2135" y="28"/>
                    </a:lnTo>
                    <a:lnTo>
                      <a:pt x="2135" y="33"/>
                    </a:lnTo>
                    <a:lnTo>
                      <a:pt x="2135" y="35"/>
                    </a:lnTo>
                    <a:lnTo>
                      <a:pt x="2135" y="35"/>
                    </a:lnTo>
                    <a:lnTo>
                      <a:pt x="2133" y="35"/>
                    </a:lnTo>
                    <a:lnTo>
                      <a:pt x="2128" y="35"/>
                    </a:lnTo>
                    <a:lnTo>
                      <a:pt x="2123" y="35"/>
                    </a:lnTo>
                    <a:lnTo>
                      <a:pt x="2123" y="35"/>
                    </a:lnTo>
                    <a:lnTo>
                      <a:pt x="2123" y="40"/>
                    </a:lnTo>
                    <a:lnTo>
                      <a:pt x="2123" y="47"/>
                    </a:lnTo>
                    <a:lnTo>
                      <a:pt x="2123" y="47"/>
                    </a:lnTo>
                    <a:lnTo>
                      <a:pt x="2116" y="47"/>
                    </a:lnTo>
                    <a:lnTo>
                      <a:pt x="2111" y="47"/>
                    </a:lnTo>
                    <a:lnTo>
                      <a:pt x="2111" y="47"/>
                    </a:lnTo>
                    <a:lnTo>
                      <a:pt x="2109" y="49"/>
                    </a:lnTo>
                    <a:lnTo>
                      <a:pt x="2109" y="52"/>
                    </a:lnTo>
                    <a:lnTo>
                      <a:pt x="2111" y="59"/>
                    </a:lnTo>
                    <a:lnTo>
                      <a:pt x="2111" y="59"/>
                    </a:lnTo>
                    <a:lnTo>
                      <a:pt x="2085" y="59"/>
                    </a:lnTo>
                    <a:lnTo>
                      <a:pt x="2085" y="59"/>
                    </a:lnTo>
                    <a:lnTo>
                      <a:pt x="2085" y="68"/>
                    </a:lnTo>
                    <a:lnTo>
                      <a:pt x="2085" y="68"/>
                    </a:lnTo>
                    <a:lnTo>
                      <a:pt x="2085" y="92"/>
                    </a:lnTo>
                    <a:lnTo>
                      <a:pt x="2085" y="92"/>
                    </a:lnTo>
                    <a:lnTo>
                      <a:pt x="2085" y="104"/>
                    </a:lnTo>
                    <a:lnTo>
                      <a:pt x="2085" y="104"/>
                    </a:lnTo>
                    <a:lnTo>
                      <a:pt x="2088" y="111"/>
                    </a:lnTo>
                    <a:lnTo>
                      <a:pt x="2085" y="115"/>
                    </a:lnTo>
                    <a:lnTo>
                      <a:pt x="2085" y="115"/>
                    </a:lnTo>
                    <a:lnTo>
                      <a:pt x="2081" y="115"/>
                    </a:lnTo>
                    <a:lnTo>
                      <a:pt x="2074" y="115"/>
                    </a:lnTo>
                    <a:lnTo>
                      <a:pt x="2074" y="115"/>
                    </a:lnTo>
                    <a:lnTo>
                      <a:pt x="2074" y="127"/>
                    </a:lnTo>
                    <a:lnTo>
                      <a:pt x="2074" y="127"/>
                    </a:lnTo>
                    <a:lnTo>
                      <a:pt x="2074" y="139"/>
                    </a:lnTo>
                    <a:lnTo>
                      <a:pt x="2074" y="139"/>
                    </a:lnTo>
                    <a:lnTo>
                      <a:pt x="2074" y="163"/>
                    </a:lnTo>
                    <a:lnTo>
                      <a:pt x="2074" y="163"/>
                    </a:lnTo>
                    <a:lnTo>
                      <a:pt x="2074" y="174"/>
                    </a:lnTo>
                    <a:lnTo>
                      <a:pt x="2074" y="174"/>
                    </a:lnTo>
                    <a:lnTo>
                      <a:pt x="2074" y="198"/>
                    </a:lnTo>
                    <a:lnTo>
                      <a:pt x="2074" y="198"/>
                    </a:lnTo>
                    <a:lnTo>
                      <a:pt x="2074" y="221"/>
                    </a:lnTo>
                    <a:lnTo>
                      <a:pt x="2074" y="221"/>
                    </a:lnTo>
                    <a:lnTo>
                      <a:pt x="2069" y="221"/>
                    </a:lnTo>
                    <a:lnTo>
                      <a:pt x="2062" y="221"/>
                    </a:lnTo>
                    <a:lnTo>
                      <a:pt x="2062" y="221"/>
                    </a:lnTo>
                    <a:lnTo>
                      <a:pt x="2062" y="226"/>
                    </a:lnTo>
                    <a:lnTo>
                      <a:pt x="2062" y="233"/>
                    </a:lnTo>
                    <a:lnTo>
                      <a:pt x="2062" y="233"/>
                    </a:lnTo>
                    <a:lnTo>
                      <a:pt x="2062" y="245"/>
                    </a:lnTo>
                    <a:lnTo>
                      <a:pt x="2062" y="245"/>
                    </a:lnTo>
                    <a:lnTo>
                      <a:pt x="2062" y="257"/>
                    </a:lnTo>
                    <a:lnTo>
                      <a:pt x="2062" y="257"/>
                    </a:lnTo>
                    <a:lnTo>
                      <a:pt x="2038" y="257"/>
                    </a:lnTo>
                    <a:lnTo>
                      <a:pt x="2038" y="257"/>
                    </a:lnTo>
                    <a:lnTo>
                      <a:pt x="2038" y="280"/>
                    </a:lnTo>
                    <a:lnTo>
                      <a:pt x="2038" y="280"/>
                    </a:lnTo>
                    <a:lnTo>
                      <a:pt x="2038" y="292"/>
                    </a:lnTo>
                    <a:lnTo>
                      <a:pt x="2038" y="292"/>
                    </a:lnTo>
                    <a:lnTo>
                      <a:pt x="2038" y="302"/>
                    </a:lnTo>
                    <a:lnTo>
                      <a:pt x="2038" y="302"/>
                    </a:lnTo>
                    <a:lnTo>
                      <a:pt x="2038" y="313"/>
                    </a:lnTo>
                    <a:lnTo>
                      <a:pt x="2038" y="313"/>
                    </a:lnTo>
                    <a:lnTo>
                      <a:pt x="2038" y="320"/>
                    </a:lnTo>
                    <a:lnTo>
                      <a:pt x="2038" y="325"/>
                    </a:lnTo>
                    <a:lnTo>
                      <a:pt x="2038" y="325"/>
                    </a:lnTo>
                    <a:lnTo>
                      <a:pt x="2036" y="328"/>
                    </a:lnTo>
                    <a:lnTo>
                      <a:pt x="2034" y="325"/>
                    </a:lnTo>
                    <a:lnTo>
                      <a:pt x="2027" y="325"/>
                    </a:lnTo>
                    <a:lnTo>
                      <a:pt x="2027" y="325"/>
                    </a:lnTo>
                    <a:lnTo>
                      <a:pt x="2027" y="349"/>
                    </a:lnTo>
                    <a:lnTo>
                      <a:pt x="2027" y="349"/>
                    </a:lnTo>
                    <a:lnTo>
                      <a:pt x="2027" y="361"/>
                    </a:lnTo>
                    <a:lnTo>
                      <a:pt x="2027" y="361"/>
                    </a:lnTo>
                    <a:lnTo>
                      <a:pt x="2027" y="384"/>
                    </a:lnTo>
                    <a:lnTo>
                      <a:pt x="2027" y="384"/>
                    </a:lnTo>
                    <a:lnTo>
                      <a:pt x="2027" y="431"/>
                    </a:lnTo>
                    <a:lnTo>
                      <a:pt x="2027" y="431"/>
                    </a:lnTo>
                    <a:lnTo>
                      <a:pt x="2027" y="443"/>
                    </a:lnTo>
                    <a:lnTo>
                      <a:pt x="2027" y="443"/>
                    </a:lnTo>
                    <a:lnTo>
                      <a:pt x="2027" y="455"/>
                    </a:lnTo>
                    <a:lnTo>
                      <a:pt x="2027" y="455"/>
                    </a:lnTo>
                    <a:lnTo>
                      <a:pt x="2027" y="467"/>
                    </a:lnTo>
                    <a:lnTo>
                      <a:pt x="2027" y="467"/>
                    </a:lnTo>
                    <a:lnTo>
                      <a:pt x="2027" y="471"/>
                    </a:lnTo>
                    <a:lnTo>
                      <a:pt x="2027" y="478"/>
                    </a:lnTo>
                    <a:lnTo>
                      <a:pt x="2027" y="478"/>
                    </a:lnTo>
                    <a:lnTo>
                      <a:pt x="2024" y="478"/>
                    </a:lnTo>
                    <a:lnTo>
                      <a:pt x="2022" y="478"/>
                    </a:lnTo>
                    <a:lnTo>
                      <a:pt x="2015" y="478"/>
                    </a:lnTo>
                    <a:lnTo>
                      <a:pt x="2015" y="478"/>
                    </a:lnTo>
                    <a:lnTo>
                      <a:pt x="2003" y="478"/>
                    </a:lnTo>
                    <a:lnTo>
                      <a:pt x="2003" y="478"/>
                    </a:lnTo>
                    <a:lnTo>
                      <a:pt x="1998" y="478"/>
                    </a:lnTo>
                    <a:lnTo>
                      <a:pt x="1991" y="478"/>
                    </a:lnTo>
                    <a:lnTo>
                      <a:pt x="1991" y="478"/>
                    </a:lnTo>
                    <a:lnTo>
                      <a:pt x="1991" y="471"/>
                    </a:lnTo>
                    <a:lnTo>
                      <a:pt x="1991" y="467"/>
                    </a:lnTo>
                    <a:lnTo>
                      <a:pt x="1991" y="467"/>
                    </a:lnTo>
                    <a:lnTo>
                      <a:pt x="1979" y="467"/>
                    </a:lnTo>
                    <a:lnTo>
                      <a:pt x="1979" y="467"/>
                    </a:lnTo>
                    <a:lnTo>
                      <a:pt x="1968" y="467"/>
                    </a:lnTo>
                    <a:lnTo>
                      <a:pt x="1968" y="467"/>
                    </a:lnTo>
                    <a:lnTo>
                      <a:pt x="1968" y="459"/>
                    </a:lnTo>
                    <a:lnTo>
                      <a:pt x="1968" y="455"/>
                    </a:lnTo>
                    <a:lnTo>
                      <a:pt x="1968" y="455"/>
                    </a:lnTo>
                    <a:lnTo>
                      <a:pt x="1968" y="443"/>
                    </a:lnTo>
                    <a:lnTo>
                      <a:pt x="1968" y="443"/>
                    </a:lnTo>
                    <a:lnTo>
                      <a:pt x="1968" y="431"/>
                    </a:lnTo>
                    <a:lnTo>
                      <a:pt x="1968" y="431"/>
                    </a:lnTo>
                    <a:lnTo>
                      <a:pt x="1968" y="424"/>
                    </a:lnTo>
                    <a:lnTo>
                      <a:pt x="1968" y="419"/>
                    </a:lnTo>
                    <a:lnTo>
                      <a:pt x="1968" y="419"/>
                    </a:lnTo>
                    <a:lnTo>
                      <a:pt x="1965" y="419"/>
                    </a:lnTo>
                    <a:lnTo>
                      <a:pt x="1963" y="419"/>
                    </a:lnTo>
                    <a:lnTo>
                      <a:pt x="1956" y="419"/>
                    </a:lnTo>
                    <a:lnTo>
                      <a:pt x="1956" y="419"/>
                    </a:lnTo>
                    <a:lnTo>
                      <a:pt x="1956" y="396"/>
                    </a:lnTo>
                    <a:lnTo>
                      <a:pt x="1956" y="396"/>
                    </a:lnTo>
                    <a:lnTo>
                      <a:pt x="1909" y="396"/>
                    </a:lnTo>
                    <a:lnTo>
                      <a:pt x="1909" y="396"/>
                    </a:lnTo>
                    <a:lnTo>
                      <a:pt x="1885" y="396"/>
                    </a:lnTo>
                    <a:lnTo>
                      <a:pt x="1885" y="396"/>
                    </a:lnTo>
                    <a:lnTo>
                      <a:pt x="1885" y="349"/>
                    </a:lnTo>
                    <a:lnTo>
                      <a:pt x="1885" y="349"/>
                    </a:lnTo>
                    <a:lnTo>
                      <a:pt x="1873" y="349"/>
                    </a:lnTo>
                    <a:lnTo>
                      <a:pt x="1873" y="349"/>
                    </a:lnTo>
                    <a:lnTo>
                      <a:pt x="1850" y="349"/>
                    </a:lnTo>
                    <a:lnTo>
                      <a:pt x="1850" y="349"/>
                    </a:lnTo>
                    <a:lnTo>
                      <a:pt x="1803" y="349"/>
                    </a:lnTo>
                    <a:lnTo>
                      <a:pt x="1803" y="349"/>
                    </a:lnTo>
                    <a:lnTo>
                      <a:pt x="1791" y="349"/>
                    </a:lnTo>
                    <a:lnTo>
                      <a:pt x="1791" y="349"/>
                    </a:lnTo>
                    <a:lnTo>
                      <a:pt x="1767" y="349"/>
                    </a:lnTo>
                    <a:lnTo>
                      <a:pt x="1767" y="349"/>
                    </a:lnTo>
                    <a:lnTo>
                      <a:pt x="1720" y="349"/>
                    </a:lnTo>
                    <a:lnTo>
                      <a:pt x="1720" y="349"/>
                    </a:lnTo>
                    <a:lnTo>
                      <a:pt x="1720" y="396"/>
                    </a:lnTo>
                    <a:lnTo>
                      <a:pt x="1720" y="396"/>
                    </a:lnTo>
                    <a:lnTo>
                      <a:pt x="1720" y="490"/>
                    </a:lnTo>
                    <a:lnTo>
                      <a:pt x="1720" y="490"/>
                    </a:lnTo>
                    <a:lnTo>
                      <a:pt x="1720" y="535"/>
                    </a:lnTo>
                    <a:lnTo>
                      <a:pt x="1720" y="535"/>
                    </a:lnTo>
                    <a:lnTo>
                      <a:pt x="1709" y="535"/>
                    </a:lnTo>
                    <a:lnTo>
                      <a:pt x="1709" y="535"/>
                    </a:lnTo>
                    <a:lnTo>
                      <a:pt x="1659" y="535"/>
                    </a:lnTo>
                    <a:lnTo>
                      <a:pt x="1659" y="535"/>
                    </a:lnTo>
                    <a:lnTo>
                      <a:pt x="1635" y="535"/>
                    </a:lnTo>
                    <a:lnTo>
                      <a:pt x="1635" y="535"/>
                    </a:lnTo>
                    <a:lnTo>
                      <a:pt x="1635" y="525"/>
                    </a:lnTo>
                    <a:lnTo>
                      <a:pt x="1635" y="525"/>
                    </a:lnTo>
                    <a:lnTo>
                      <a:pt x="1635" y="514"/>
                    </a:lnTo>
                    <a:lnTo>
                      <a:pt x="1635" y="514"/>
                    </a:lnTo>
                    <a:lnTo>
                      <a:pt x="1635" y="502"/>
                    </a:lnTo>
                    <a:lnTo>
                      <a:pt x="1635" y="502"/>
                    </a:lnTo>
                    <a:lnTo>
                      <a:pt x="1635" y="490"/>
                    </a:lnTo>
                    <a:lnTo>
                      <a:pt x="1635" y="490"/>
                    </a:lnTo>
                    <a:lnTo>
                      <a:pt x="1638" y="483"/>
                    </a:lnTo>
                    <a:lnTo>
                      <a:pt x="1635" y="478"/>
                    </a:lnTo>
                    <a:lnTo>
                      <a:pt x="1635" y="478"/>
                    </a:lnTo>
                    <a:lnTo>
                      <a:pt x="1631" y="478"/>
                    </a:lnTo>
                    <a:lnTo>
                      <a:pt x="1624" y="478"/>
                    </a:lnTo>
                    <a:lnTo>
                      <a:pt x="1624" y="478"/>
                    </a:lnTo>
                    <a:lnTo>
                      <a:pt x="1612" y="478"/>
                    </a:lnTo>
                    <a:lnTo>
                      <a:pt x="1612" y="478"/>
                    </a:lnTo>
                    <a:lnTo>
                      <a:pt x="1612" y="455"/>
                    </a:lnTo>
                    <a:lnTo>
                      <a:pt x="1612" y="455"/>
                    </a:lnTo>
                    <a:lnTo>
                      <a:pt x="1612" y="431"/>
                    </a:lnTo>
                    <a:lnTo>
                      <a:pt x="1612" y="431"/>
                    </a:lnTo>
                    <a:lnTo>
                      <a:pt x="1612" y="419"/>
                    </a:lnTo>
                    <a:lnTo>
                      <a:pt x="1612" y="419"/>
                    </a:lnTo>
                    <a:lnTo>
                      <a:pt x="1612" y="396"/>
                    </a:lnTo>
                    <a:lnTo>
                      <a:pt x="1612" y="396"/>
                    </a:lnTo>
                    <a:lnTo>
                      <a:pt x="1612" y="349"/>
                    </a:lnTo>
                    <a:lnTo>
                      <a:pt x="1612" y="349"/>
                    </a:lnTo>
                    <a:lnTo>
                      <a:pt x="1612" y="325"/>
                    </a:lnTo>
                    <a:lnTo>
                      <a:pt x="1612" y="325"/>
                    </a:lnTo>
                    <a:lnTo>
                      <a:pt x="1612" y="320"/>
                    </a:lnTo>
                    <a:lnTo>
                      <a:pt x="1612" y="313"/>
                    </a:lnTo>
                    <a:lnTo>
                      <a:pt x="1612" y="313"/>
                    </a:lnTo>
                    <a:lnTo>
                      <a:pt x="1600" y="313"/>
                    </a:lnTo>
                    <a:lnTo>
                      <a:pt x="1600" y="313"/>
                    </a:lnTo>
                    <a:lnTo>
                      <a:pt x="1588" y="313"/>
                    </a:lnTo>
                    <a:lnTo>
                      <a:pt x="1588" y="313"/>
                    </a:lnTo>
                    <a:lnTo>
                      <a:pt x="1588" y="302"/>
                    </a:lnTo>
                    <a:lnTo>
                      <a:pt x="1588" y="302"/>
                    </a:lnTo>
                    <a:lnTo>
                      <a:pt x="1588" y="297"/>
                    </a:lnTo>
                    <a:lnTo>
                      <a:pt x="1588" y="292"/>
                    </a:lnTo>
                    <a:lnTo>
                      <a:pt x="1588" y="292"/>
                    </a:lnTo>
                    <a:lnTo>
                      <a:pt x="1584" y="292"/>
                    </a:lnTo>
                    <a:lnTo>
                      <a:pt x="1577" y="292"/>
                    </a:lnTo>
                    <a:lnTo>
                      <a:pt x="1577" y="292"/>
                    </a:lnTo>
                    <a:lnTo>
                      <a:pt x="1577" y="285"/>
                    </a:lnTo>
                    <a:lnTo>
                      <a:pt x="1577" y="280"/>
                    </a:lnTo>
                    <a:lnTo>
                      <a:pt x="1577" y="280"/>
                    </a:lnTo>
                    <a:lnTo>
                      <a:pt x="1572" y="280"/>
                    </a:lnTo>
                    <a:lnTo>
                      <a:pt x="1565" y="280"/>
                    </a:lnTo>
                    <a:lnTo>
                      <a:pt x="1565" y="280"/>
                    </a:lnTo>
                    <a:lnTo>
                      <a:pt x="1565" y="278"/>
                    </a:lnTo>
                    <a:lnTo>
                      <a:pt x="1565" y="273"/>
                    </a:lnTo>
                    <a:lnTo>
                      <a:pt x="1565" y="269"/>
                    </a:lnTo>
                    <a:lnTo>
                      <a:pt x="1565" y="269"/>
                    </a:lnTo>
                    <a:lnTo>
                      <a:pt x="1560" y="269"/>
                    </a:lnTo>
                    <a:lnTo>
                      <a:pt x="1555" y="269"/>
                    </a:lnTo>
                    <a:lnTo>
                      <a:pt x="1553" y="269"/>
                    </a:lnTo>
                    <a:lnTo>
                      <a:pt x="1553" y="269"/>
                    </a:lnTo>
                    <a:lnTo>
                      <a:pt x="1553" y="262"/>
                    </a:lnTo>
                    <a:lnTo>
                      <a:pt x="1553" y="257"/>
                    </a:lnTo>
                    <a:lnTo>
                      <a:pt x="1553" y="257"/>
                    </a:lnTo>
                    <a:lnTo>
                      <a:pt x="1553" y="245"/>
                    </a:lnTo>
                    <a:lnTo>
                      <a:pt x="1553" y="245"/>
                    </a:lnTo>
                    <a:lnTo>
                      <a:pt x="1553" y="221"/>
                    </a:lnTo>
                    <a:lnTo>
                      <a:pt x="1553" y="221"/>
                    </a:lnTo>
                    <a:lnTo>
                      <a:pt x="1541" y="221"/>
                    </a:lnTo>
                    <a:lnTo>
                      <a:pt x="1541" y="221"/>
                    </a:lnTo>
                    <a:lnTo>
                      <a:pt x="1518" y="221"/>
                    </a:lnTo>
                    <a:lnTo>
                      <a:pt x="1518" y="221"/>
                    </a:lnTo>
                    <a:lnTo>
                      <a:pt x="1471" y="221"/>
                    </a:lnTo>
                    <a:lnTo>
                      <a:pt x="1471" y="221"/>
                    </a:lnTo>
                    <a:lnTo>
                      <a:pt x="1459" y="221"/>
                    </a:lnTo>
                    <a:lnTo>
                      <a:pt x="1459" y="221"/>
                    </a:lnTo>
                    <a:lnTo>
                      <a:pt x="1459" y="210"/>
                    </a:lnTo>
                    <a:lnTo>
                      <a:pt x="1459" y="210"/>
                    </a:lnTo>
                    <a:lnTo>
                      <a:pt x="1459" y="203"/>
                    </a:lnTo>
                    <a:lnTo>
                      <a:pt x="1459" y="198"/>
                    </a:lnTo>
                    <a:lnTo>
                      <a:pt x="1459" y="198"/>
                    </a:lnTo>
                    <a:lnTo>
                      <a:pt x="1452" y="198"/>
                    </a:lnTo>
                    <a:lnTo>
                      <a:pt x="1447" y="198"/>
                    </a:lnTo>
                    <a:lnTo>
                      <a:pt x="1447" y="198"/>
                    </a:lnTo>
                    <a:lnTo>
                      <a:pt x="1435" y="198"/>
                    </a:lnTo>
                    <a:lnTo>
                      <a:pt x="1435" y="198"/>
                    </a:lnTo>
                    <a:lnTo>
                      <a:pt x="1423" y="198"/>
                    </a:lnTo>
                    <a:lnTo>
                      <a:pt x="1423" y="198"/>
                    </a:lnTo>
                    <a:lnTo>
                      <a:pt x="1412" y="198"/>
                    </a:lnTo>
                    <a:lnTo>
                      <a:pt x="1412" y="198"/>
                    </a:lnTo>
                    <a:lnTo>
                      <a:pt x="1388" y="198"/>
                    </a:lnTo>
                    <a:lnTo>
                      <a:pt x="1388" y="198"/>
                    </a:lnTo>
                    <a:lnTo>
                      <a:pt x="1365" y="198"/>
                    </a:lnTo>
                    <a:lnTo>
                      <a:pt x="1365" y="198"/>
                    </a:lnTo>
                    <a:lnTo>
                      <a:pt x="1357" y="198"/>
                    </a:lnTo>
                    <a:lnTo>
                      <a:pt x="1353" y="198"/>
                    </a:lnTo>
                    <a:lnTo>
                      <a:pt x="1353" y="198"/>
                    </a:lnTo>
                    <a:lnTo>
                      <a:pt x="1350" y="200"/>
                    </a:lnTo>
                    <a:lnTo>
                      <a:pt x="1353" y="203"/>
                    </a:lnTo>
                    <a:lnTo>
                      <a:pt x="1353" y="207"/>
                    </a:lnTo>
                    <a:lnTo>
                      <a:pt x="1353" y="210"/>
                    </a:lnTo>
                    <a:lnTo>
                      <a:pt x="1353" y="210"/>
                    </a:lnTo>
                    <a:lnTo>
                      <a:pt x="1350" y="210"/>
                    </a:lnTo>
                    <a:lnTo>
                      <a:pt x="1346" y="210"/>
                    </a:lnTo>
                    <a:lnTo>
                      <a:pt x="1343" y="210"/>
                    </a:lnTo>
                    <a:lnTo>
                      <a:pt x="1341" y="210"/>
                    </a:lnTo>
                    <a:lnTo>
                      <a:pt x="1341" y="210"/>
                    </a:lnTo>
                    <a:lnTo>
                      <a:pt x="1339" y="212"/>
                    </a:lnTo>
                    <a:lnTo>
                      <a:pt x="1341" y="214"/>
                    </a:lnTo>
                    <a:lnTo>
                      <a:pt x="1341" y="221"/>
                    </a:lnTo>
                    <a:lnTo>
                      <a:pt x="1341" y="221"/>
                    </a:lnTo>
                    <a:lnTo>
                      <a:pt x="1317" y="221"/>
                    </a:lnTo>
                    <a:lnTo>
                      <a:pt x="1317" y="221"/>
                    </a:lnTo>
                    <a:lnTo>
                      <a:pt x="1268" y="221"/>
                    </a:lnTo>
                    <a:lnTo>
                      <a:pt x="1268" y="221"/>
                    </a:lnTo>
                    <a:lnTo>
                      <a:pt x="1256" y="221"/>
                    </a:lnTo>
                    <a:lnTo>
                      <a:pt x="1256" y="221"/>
                    </a:lnTo>
                    <a:lnTo>
                      <a:pt x="1251" y="221"/>
                    </a:lnTo>
                    <a:lnTo>
                      <a:pt x="1244" y="221"/>
                    </a:lnTo>
                    <a:lnTo>
                      <a:pt x="1244" y="221"/>
                    </a:lnTo>
                    <a:lnTo>
                      <a:pt x="1244" y="226"/>
                    </a:lnTo>
                    <a:lnTo>
                      <a:pt x="1244" y="233"/>
                    </a:lnTo>
                    <a:lnTo>
                      <a:pt x="1244" y="233"/>
                    </a:lnTo>
                    <a:lnTo>
                      <a:pt x="1242" y="233"/>
                    </a:lnTo>
                    <a:lnTo>
                      <a:pt x="1240" y="233"/>
                    </a:lnTo>
                    <a:lnTo>
                      <a:pt x="1233" y="233"/>
                    </a:lnTo>
                    <a:lnTo>
                      <a:pt x="1233" y="233"/>
                    </a:lnTo>
                    <a:lnTo>
                      <a:pt x="1233" y="245"/>
                    </a:lnTo>
                    <a:lnTo>
                      <a:pt x="1233" y="245"/>
                    </a:lnTo>
                    <a:lnTo>
                      <a:pt x="1233" y="269"/>
                    </a:lnTo>
                    <a:lnTo>
                      <a:pt x="1233" y="269"/>
                    </a:lnTo>
                    <a:lnTo>
                      <a:pt x="1233" y="280"/>
                    </a:lnTo>
                    <a:lnTo>
                      <a:pt x="1233" y="280"/>
                    </a:lnTo>
                    <a:lnTo>
                      <a:pt x="1233" y="302"/>
                    </a:lnTo>
                    <a:lnTo>
                      <a:pt x="1233" y="302"/>
                    </a:lnTo>
                    <a:lnTo>
                      <a:pt x="1233" y="313"/>
                    </a:lnTo>
                    <a:lnTo>
                      <a:pt x="1233" y="313"/>
                    </a:lnTo>
                    <a:lnTo>
                      <a:pt x="1233" y="337"/>
                    </a:lnTo>
                    <a:lnTo>
                      <a:pt x="1233" y="337"/>
                    </a:lnTo>
                    <a:lnTo>
                      <a:pt x="1233" y="349"/>
                    </a:lnTo>
                    <a:lnTo>
                      <a:pt x="1233" y="349"/>
                    </a:lnTo>
                    <a:lnTo>
                      <a:pt x="1233" y="372"/>
                    </a:lnTo>
                    <a:lnTo>
                      <a:pt x="1233" y="372"/>
                    </a:lnTo>
                    <a:lnTo>
                      <a:pt x="1233" y="384"/>
                    </a:lnTo>
                    <a:lnTo>
                      <a:pt x="1233" y="384"/>
                    </a:lnTo>
                    <a:lnTo>
                      <a:pt x="1233" y="408"/>
                    </a:lnTo>
                    <a:lnTo>
                      <a:pt x="1233" y="408"/>
                    </a:lnTo>
                    <a:lnTo>
                      <a:pt x="1221" y="408"/>
                    </a:lnTo>
                    <a:lnTo>
                      <a:pt x="1221" y="408"/>
                    </a:lnTo>
                    <a:lnTo>
                      <a:pt x="1216" y="408"/>
                    </a:lnTo>
                    <a:lnTo>
                      <a:pt x="1209" y="408"/>
                    </a:lnTo>
                    <a:lnTo>
                      <a:pt x="1209" y="408"/>
                    </a:lnTo>
                    <a:lnTo>
                      <a:pt x="1209" y="415"/>
                    </a:lnTo>
                    <a:lnTo>
                      <a:pt x="1209" y="419"/>
                    </a:lnTo>
                    <a:lnTo>
                      <a:pt x="1209" y="419"/>
                    </a:lnTo>
                    <a:lnTo>
                      <a:pt x="1197" y="419"/>
                    </a:lnTo>
                    <a:lnTo>
                      <a:pt x="1197" y="419"/>
                    </a:lnTo>
                    <a:lnTo>
                      <a:pt x="1185" y="419"/>
                    </a:lnTo>
                    <a:lnTo>
                      <a:pt x="1185" y="419"/>
                    </a:lnTo>
                    <a:lnTo>
                      <a:pt x="1162" y="419"/>
                    </a:lnTo>
                    <a:lnTo>
                      <a:pt x="1162" y="419"/>
                    </a:lnTo>
                    <a:lnTo>
                      <a:pt x="1162" y="467"/>
                    </a:lnTo>
                    <a:lnTo>
                      <a:pt x="1162" y="467"/>
                    </a:lnTo>
                    <a:lnTo>
                      <a:pt x="1162" y="514"/>
                    </a:lnTo>
                    <a:lnTo>
                      <a:pt x="1162" y="514"/>
                    </a:lnTo>
                    <a:lnTo>
                      <a:pt x="1150" y="514"/>
                    </a:lnTo>
                    <a:lnTo>
                      <a:pt x="1150" y="514"/>
                    </a:lnTo>
                    <a:lnTo>
                      <a:pt x="1103" y="514"/>
                    </a:lnTo>
                    <a:lnTo>
                      <a:pt x="1103" y="514"/>
                    </a:lnTo>
                    <a:lnTo>
                      <a:pt x="1056" y="514"/>
                    </a:lnTo>
                    <a:lnTo>
                      <a:pt x="1056" y="514"/>
                    </a:lnTo>
                    <a:lnTo>
                      <a:pt x="1056" y="502"/>
                    </a:lnTo>
                    <a:lnTo>
                      <a:pt x="1056" y="502"/>
                    </a:lnTo>
                    <a:lnTo>
                      <a:pt x="1056" y="478"/>
                    </a:lnTo>
                    <a:lnTo>
                      <a:pt x="1056" y="478"/>
                    </a:lnTo>
                    <a:lnTo>
                      <a:pt x="1056" y="455"/>
                    </a:lnTo>
                    <a:lnTo>
                      <a:pt x="1056" y="455"/>
                    </a:lnTo>
                    <a:lnTo>
                      <a:pt x="1009" y="455"/>
                    </a:lnTo>
                    <a:lnTo>
                      <a:pt x="1009" y="455"/>
                    </a:lnTo>
                    <a:lnTo>
                      <a:pt x="997" y="455"/>
                    </a:lnTo>
                    <a:lnTo>
                      <a:pt x="997" y="455"/>
                    </a:lnTo>
                    <a:lnTo>
                      <a:pt x="990" y="455"/>
                    </a:lnTo>
                    <a:lnTo>
                      <a:pt x="985" y="455"/>
                    </a:lnTo>
                    <a:lnTo>
                      <a:pt x="985" y="455"/>
                    </a:lnTo>
                    <a:lnTo>
                      <a:pt x="985" y="448"/>
                    </a:lnTo>
                    <a:lnTo>
                      <a:pt x="985" y="443"/>
                    </a:lnTo>
                    <a:lnTo>
                      <a:pt x="985" y="443"/>
                    </a:lnTo>
                    <a:lnTo>
                      <a:pt x="978" y="443"/>
                    </a:lnTo>
                    <a:lnTo>
                      <a:pt x="973" y="443"/>
                    </a:lnTo>
                    <a:lnTo>
                      <a:pt x="973" y="443"/>
                    </a:lnTo>
                    <a:lnTo>
                      <a:pt x="962" y="443"/>
                    </a:lnTo>
                    <a:lnTo>
                      <a:pt x="962" y="443"/>
                    </a:lnTo>
                    <a:lnTo>
                      <a:pt x="914" y="443"/>
                    </a:lnTo>
                    <a:lnTo>
                      <a:pt x="914" y="443"/>
                    </a:lnTo>
                    <a:lnTo>
                      <a:pt x="891" y="443"/>
                    </a:lnTo>
                    <a:lnTo>
                      <a:pt x="891" y="443"/>
                    </a:lnTo>
                    <a:lnTo>
                      <a:pt x="877" y="443"/>
                    </a:lnTo>
                    <a:lnTo>
                      <a:pt x="877" y="443"/>
                    </a:lnTo>
                    <a:lnTo>
                      <a:pt x="865" y="443"/>
                    </a:lnTo>
                    <a:lnTo>
                      <a:pt x="865" y="443"/>
                    </a:lnTo>
                    <a:lnTo>
                      <a:pt x="853" y="443"/>
                    </a:lnTo>
                    <a:lnTo>
                      <a:pt x="853" y="443"/>
                    </a:lnTo>
                    <a:lnTo>
                      <a:pt x="841" y="443"/>
                    </a:lnTo>
                    <a:lnTo>
                      <a:pt x="841" y="443"/>
                    </a:lnTo>
                    <a:lnTo>
                      <a:pt x="841" y="455"/>
                    </a:lnTo>
                    <a:lnTo>
                      <a:pt x="841" y="455"/>
                    </a:lnTo>
                    <a:lnTo>
                      <a:pt x="844" y="459"/>
                    </a:lnTo>
                    <a:lnTo>
                      <a:pt x="841" y="467"/>
                    </a:lnTo>
                    <a:lnTo>
                      <a:pt x="841" y="467"/>
                    </a:lnTo>
                    <a:lnTo>
                      <a:pt x="837" y="467"/>
                    </a:lnTo>
                    <a:lnTo>
                      <a:pt x="830" y="467"/>
                    </a:lnTo>
                    <a:lnTo>
                      <a:pt x="830" y="467"/>
                    </a:lnTo>
                    <a:lnTo>
                      <a:pt x="783" y="467"/>
                    </a:lnTo>
                    <a:lnTo>
                      <a:pt x="783" y="467"/>
                    </a:lnTo>
                    <a:lnTo>
                      <a:pt x="783" y="490"/>
                    </a:lnTo>
                    <a:lnTo>
                      <a:pt x="783" y="490"/>
                    </a:lnTo>
                    <a:lnTo>
                      <a:pt x="783" y="502"/>
                    </a:lnTo>
                    <a:lnTo>
                      <a:pt x="783" y="502"/>
                    </a:lnTo>
                    <a:lnTo>
                      <a:pt x="783" y="525"/>
                    </a:lnTo>
                    <a:lnTo>
                      <a:pt x="783" y="525"/>
                    </a:lnTo>
                    <a:lnTo>
                      <a:pt x="771" y="525"/>
                    </a:lnTo>
                    <a:lnTo>
                      <a:pt x="771" y="525"/>
                    </a:lnTo>
                    <a:lnTo>
                      <a:pt x="747" y="525"/>
                    </a:lnTo>
                    <a:lnTo>
                      <a:pt x="747" y="525"/>
                    </a:lnTo>
                    <a:lnTo>
                      <a:pt x="700" y="525"/>
                    </a:lnTo>
                    <a:lnTo>
                      <a:pt x="700" y="525"/>
                    </a:lnTo>
                    <a:lnTo>
                      <a:pt x="700" y="547"/>
                    </a:lnTo>
                    <a:lnTo>
                      <a:pt x="700" y="547"/>
                    </a:lnTo>
                    <a:lnTo>
                      <a:pt x="676" y="547"/>
                    </a:lnTo>
                    <a:lnTo>
                      <a:pt x="676" y="547"/>
                    </a:lnTo>
                    <a:lnTo>
                      <a:pt x="653" y="547"/>
                    </a:lnTo>
                    <a:lnTo>
                      <a:pt x="653" y="547"/>
                    </a:lnTo>
                    <a:lnTo>
                      <a:pt x="653" y="535"/>
                    </a:lnTo>
                    <a:lnTo>
                      <a:pt x="653" y="535"/>
                    </a:lnTo>
                    <a:lnTo>
                      <a:pt x="653" y="530"/>
                    </a:lnTo>
                    <a:lnTo>
                      <a:pt x="653" y="525"/>
                    </a:lnTo>
                    <a:lnTo>
                      <a:pt x="653" y="525"/>
                    </a:lnTo>
                    <a:lnTo>
                      <a:pt x="648" y="523"/>
                    </a:lnTo>
                    <a:lnTo>
                      <a:pt x="641" y="525"/>
                    </a:lnTo>
                    <a:lnTo>
                      <a:pt x="641" y="525"/>
                    </a:lnTo>
                    <a:lnTo>
                      <a:pt x="634" y="523"/>
                    </a:lnTo>
                    <a:lnTo>
                      <a:pt x="629" y="525"/>
                    </a:lnTo>
                    <a:lnTo>
                      <a:pt x="629" y="525"/>
                    </a:lnTo>
                    <a:lnTo>
                      <a:pt x="629" y="530"/>
                    </a:lnTo>
                    <a:lnTo>
                      <a:pt x="629" y="535"/>
                    </a:lnTo>
                    <a:lnTo>
                      <a:pt x="629" y="535"/>
                    </a:lnTo>
                    <a:lnTo>
                      <a:pt x="622" y="537"/>
                    </a:lnTo>
                    <a:lnTo>
                      <a:pt x="618" y="535"/>
                    </a:lnTo>
                    <a:lnTo>
                      <a:pt x="618" y="535"/>
                    </a:lnTo>
                    <a:lnTo>
                      <a:pt x="618" y="537"/>
                    </a:lnTo>
                    <a:lnTo>
                      <a:pt x="618" y="542"/>
                    </a:lnTo>
                    <a:lnTo>
                      <a:pt x="618" y="547"/>
                    </a:lnTo>
                    <a:lnTo>
                      <a:pt x="618" y="547"/>
                    </a:lnTo>
                    <a:lnTo>
                      <a:pt x="611" y="547"/>
                    </a:lnTo>
                    <a:lnTo>
                      <a:pt x="606" y="547"/>
                    </a:lnTo>
                    <a:lnTo>
                      <a:pt x="606" y="547"/>
                    </a:lnTo>
                    <a:lnTo>
                      <a:pt x="606" y="535"/>
                    </a:lnTo>
                    <a:lnTo>
                      <a:pt x="606" y="535"/>
                    </a:lnTo>
                    <a:lnTo>
                      <a:pt x="606" y="525"/>
                    </a:lnTo>
                    <a:lnTo>
                      <a:pt x="606" y="525"/>
                    </a:lnTo>
                    <a:lnTo>
                      <a:pt x="594" y="525"/>
                    </a:lnTo>
                    <a:lnTo>
                      <a:pt x="594" y="525"/>
                    </a:lnTo>
                    <a:lnTo>
                      <a:pt x="582" y="525"/>
                    </a:lnTo>
                    <a:lnTo>
                      <a:pt x="582" y="525"/>
                    </a:lnTo>
                    <a:lnTo>
                      <a:pt x="570" y="525"/>
                    </a:lnTo>
                    <a:lnTo>
                      <a:pt x="570" y="525"/>
                    </a:lnTo>
                    <a:lnTo>
                      <a:pt x="559" y="525"/>
                    </a:lnTo>
                    <a:lnTo>
                      <a:pt x="559" y="525"/>
                    </a:lnTo>
                    <a:lnTo>
                      <a:pt x="552" y="523"/>
                    </a:lnTo>
                    <a:lnTo>
                      <a:pt x="547" y="525"/>
                    </a:lnTo>
                    <a:lnTo>
                      <a:pt x="547" y="525"/>
                    </a:lnTo>
                    <a:lnTo>
                      <a:pt x="545" y="530"/>
                    </a:lnTo>
                    <a:lnTo>
                      <a:pt x="547" y="535"/>
                    </a:lnTo>
                    <a:lnTo>
                      <a:pt x="547" y="535"/>
                    </a:lnTo>
                    <a:lnTo>
                      <a:pt x="547" y="547"/>
                    </a:lnTo>
                    <a:lnTo>
                      <a:pt x="547" y="547"/>
                    </a:lnTo>
                    <a:lnTo>
                      <a:pt x="523" y="547"/>
                    </a:lnTo>
                    <a:lnTo>
                      <a:pt x="523" y="547"/>
                    </a:lnTo>
                    <a:lnTo>
                      <a:pt x="523" y="535"/>
                    </a:lnTo>
                    <a:lnTo>
                      <a:pt x="523" y="535"/>
                    </a:lnTo>
                    <a:lnTo>
                      <a:pt x="523" y="530"/>
                    </a:lnTo>
                    <a:lnTo>
                      <a:pt x="523" y="525"/>
                    </a:lnTo>
                    <a:lnTo>
                      <a:pt x="523" y="525"/>
                    </a:lnTo>
                    <a:lnTo>
                      <a:pt x="516" y="523"/>
                    </a:lnTo>
                    <a:lnTo>
                      <a:pt x="512" y="525"/>
                    </a:lnTo>
                    <a:lnTo>
                      <a:pt x="512" y="525"/>
                    </a:lnTo>
                    <a:lnTo>
                      <a:pt x="504" y="523"/>
                    </a:lnTo>
                    <a:lnTo>
                      <a:pt x="500" y="525"/>
                    </a:lnTo>
                    <a:lnTo>
                      <a:pt x="500" y="525"/>
                    </a:lnTo>
                    <a:lnTo>
                      <a:pt x="474" y="525"/>
                    </a:lnTo>
                    <a:lnTo>
                      <a:pt x="474" y="525"/>
                    </a:lnTo>
                    <a:lnTo>
                      <a:pt x="474" y="518"/>
                    </a:lnTo>
                    <a:lnTo>
                      <a:pt x="474" y="516"/>
                    </a:lnTo>
                    <a:lnTo>
                      <a:pt x="474" y="514"/>
                    </a:lnTo>
                    <a:lnTo>
                      <a:pt x="474" y="514"/>
                    </a:lnTo>
                    <a:lnTo>
                      <a:pt x="481" y="511"/>
                    </a:lnTo>
                    <a:lnTo>
                      <a:pt x="488" y="514"/>
                    </a:lnTo>
                    <a:lnTo>
                      <a:pt x="488" y="514"/>
                    </a:lnTo>
                    <a:lnTo>
                      <a:pt x="512" y="514"/>
                    </a:lnTo>
                    <a:lnTo>
                      <a:pt x="512" y="514"/>
                    </a:lnTo>
                    <a:lnTo>
                      <a:pt x="535" y="514"/>
                    </a:lnTo>
                    <a:lnTo>
                      <a:pt x="535" y="514"/>
                    </a:lnTo>
                    <a:lnTo>
                      <a:pt x="535" y="467"/>
                    </a:lnTo>
                    <a:lnTo>
                      <a:pt x="535" y="467"/>
                    </a:lnTo>
                    <a:lnTo>
                      <a:pt x="528" y="467"/>
                    </a:lnTo>
                    <a:lnTo>
                      <a:pt x="523" y="467"/>
                    </a:lnTo>
                    <a:lnTo>
                      <a:pt x="523" y="467"/>
                    </a:lnTo>
                    <a:lnTo>
                      <a:pt x="523" y="478"/>
                    </a:lnTo>
                    <a:lnTo>
                      <a:pt x="523" y="478"/>
                    </a:lnTo>
                    <a:lnTo>
                      <a:pt x="474" y="478"/>
                    </a:lnTo>
                    <a:lnTo>
                      <a:pt x="474" y="478"/>
                    </a:lnTo>
                    <a:lnTo>
                      <a:pt x="474" y="467"/>
                    </a:lnTo>
                    <a:lnTo>
                      <a:pt x="474" y="467"/>
                    </a:lnTo>
                    <a:lnTo>
                      <a:pt x="474" y="443"/>
                    </a:lnTo>
                    <a:lnTo>
                      <a:pt x="474" y="443"/>
                    </a:lnTo>
                    <a:lnTo>
                      <a:pt x="474" y="431"/>
                    </a:lnTo>
                    <a:lnTo>
                      <a:pt x="474" y="431"/>
                    </a:lnTo>
                    <a:lnTo>
                      <a:pt x="474" y="408"/>
                    </a:lnTo>
                    <a:lnTo>
                      <a:pt x="474" y="408"/>
                    </a:lnTo>
                    <a:lnTo>
                      <a:pt x="474" y="361"/>
                    </a:lnTo>
                    <a:lnTo>
                      <a:pt x="474" y="361"/>
                    </a:lnTo>
                    <a:lnTo>
                      <a:pt x="474" y="313"/>
                    </a:lnTo>
                    <a:lnTo>
                      <a:pt x="474" y="313"/>
                    </a:lnTo>
                    <a:lnTo>
                      <a:pt x="450" y="313"/>
                    </a:lnTo>
                    <a:lnTo>
                      <a:pt x="450" y="313"/>
                    </a:lnTo>
                    <a:lnTo>
                      <a:pt x="439" y="313"/>
                    </a:lnTo>
                    <a:lnTo>
                      <a:pt x="439" y="313"/>
                    </a:lnTo>
                    <a:lnTo>
                      <a:pt x="427" y="313"/>
                    </a:lnTo>
                    <a:lnTo>
                      <a:pt x="427" y="313"/>
                    </a:lnTo>
                    <a:lnTo>
                      <a:pt x="422" y="316"/>
                    </a:lnTo>
                    <a:lnTo>
                      <a:pt x="415" y="313"/>
                    </a:lnTo>
                    <a:lnTo>
                      <a:pt x="415" y="313"/>
                    </a:lnTo>
                    <a:lnTo>
                      <a:pt x="410" y="316"/>
                    </a:lnTo>
                    <a:lnTo>
                      <a:pt x="403" y="313"/>
                    </a:lnTo>
                    <a:lnTo>
                      <a:pt x="403" y="313"/>
                    </a:lnTo>
                    <a:lnTo>
                      <a:pt x="403" y="302"/>
                    </a:lnTo>
                    <a:lnTo>
                      <a:pt x="403" y="302"/>
                    </a:lnTo>
                    <a:lnTo>
                      <a:pt x="403" y="292"/>
                    </a:lnTo>
                    <a:lnTo>
                      <a:pt x="403" y="292"/>
                    </a:lnTo>
                    <a:lnTo>
                      <a:pt x="380" y="292"/>
                    </a:lnTo>
                    <a:lnTo>
                      <a:pt x="380" y="292"/>
                    </a:lnTo>
                    <a:lnTo>
                      <a:pt x="332" y="292"/>
                    </a:lnTo>
                    <a:lnTo>
                      <a:pt x="332" y="292"/>
                    </a:lnTo>
                    <a:lnTo>
                      <a:pt x="321" y="292"/>
                    </a:lnTo>
                    <a:lnTo>
                      <a:pt x="321" y="292"/>
                    </a:lnTo>
                    <a:lnTo>
                      <a:pt x="297" y="292"/>
                    </a:lnTo>
                    <a:lnTo>
                      <a:pt x="297" y="292"/>
                    </a:lnTo>
                    <a:lnTo>
                      <a:pt x="274" y="292"/>
                    </a:lnTo>
                    <a:lnTo>
                      <a:pt x="274" y="292"/>
                    </a:lnTo>
                    <a:lnTo>
                      <a:pt x="274" y="245"/>
                    </a:lnTo>
                    <a:lnTo>
                      <a:pt x="274" y="245"/>
                    </a:lnTo>
                    <a:lnTo>
                      <a:pt x="274" y="221"/>
                    </a:lnTo>
                    <a:lnTo>
                      <a:pt x="274" y="221"/>
                    </a:lnTo>
                    <a:lnTo>
                      <a:pt x="250" y="221"/>
                    </a:lnTo>
                    <a:lnTo>
                      <a:pt x="250" y="221"/>
                    </a:lnTo>
                    <a:lnTo>
                      <a:pt x="250" y="245"/>
                    </a:lnTo>
                    <a:lnTo>
                      <a:pt x="250" y="245"/>
                    </a:lnTo>
                    <a:lnTo>
                      <a:pt x="250" y="292"/>
                    </a:lnTo>
                    <a:lnTo>
                      <a:pt x="250" y="292"/>
                    </a:lnTo>
                    <a:lnTo>
                      <a:pt x="238" y="292"/>
                    </a:lnTo>
                    <a:lnTo>
                      <a:pt x="238" y="292"/>
                    </a:lnTo>
                    <a:lnTo>
                      <a:pt x="191" y="292"/>
                    </a:lnTo>
                    <a:lnTo>
                      <a:pt x="191" y="292"/>
                    </a:lnTo>
                    <a:lnTo>
                      <a:pt x="179" y="292"/>
                    </a:lnTo>
                    <a:lnTo>
                      <a:pt x="179" y="292"/>
                    </a:lnTo>
                    <a:lnTo>
                      <a:pt x="156" y="292"/>
                    </a:lnTo>
                    <a:lnTo>
                      <a:pt x="156" y="292"/>
                    </a:lnTo>
                    <a:lnTo>
                      <a:pt x="144" y="292"/>
                    </a:lnTo>
                    <a:lnTo>
                      <a:pt x="144" y="292"/>
                    </a:lnTo>
                    <a:lnTo>
                      <a:pt x="132" y="292"/>
                    </a:lnTo>
                    <a:lnTo>
                      <a:pt x="132" y="292"/>
                    </a:lnTo>
                    <a:lnTo>
                      <a:pt x="125" y="290"/>
                    </a:lnTo>
                    <a:lnTo>
                      <a:pt x="120" y="292"/>
                    </a:lnTo>
                    <a:lnTo>
                      <a:pt x="120" y="292"/>
                    </a:lnTo>
                    <a:lnTo>
                      <a:pt x="118" y="297"/>
                    </a:lnTo>
                    <a:lnTo>
                      <a:pt x="120" y="302"/>
                    </a:lnTo>
                    <a:lnTo>
                      <a:pt x="120" y="302"/>
                    </a:lnTo>
                    <a:lnTo>
                      <a:pt x="120" y="313"/>
                    </a:lnTo>
                    <a:lnTo>
                      <a:pt x="120" y="313"/>
                    </a:lnTo>
                    <a:lnTo>
                      <a:pt x="120" y="325"/>
                    </a:lnTo>
                    <a:lnTo>
                      <a:pt x="120" y="325"/>
                    </a:lnTo>
                    <a:lnTo>
                      <a:pt x="71" y="325"/>
                    </a:lnTo>
                    <a:lnTo>
                      <a:pt x="71" y="325"/>
                    </a:lnTo>
                    <a:lnTo>
                      <a:pt x="47" y="325"/>
                    </a:lnTo>
                    <a:lnTo>
                      <a:pt x="47" y="325"/>
                    </a:lnTo>
                    <a:lnTo>
                      <a:pt x="47" y="349"/>
                    </a:lnTo>
                    <a:lnTo>
                      <a:pt x="47" y="349"/>
                    </a:lnTo>
                    <a:lnTo>
                      <a:pt x="47" y="361"/>
                    </a:lnTo>
                    <a:lnTo>
                      <a:pt x="47" y="361"/>
                    </a:lnTo>
                    <a:lnTo>
                      <a:pt x="47" y="384"/>
                    </a:lnTo>
                    <a:lnTo>
                      <a:pt x="47" y="384"/>
                    </a:lnTo>
                    <a:lnTo>
                      <a:pt x="47" y="396"/>
                    </a:lnTo>
                    <a:lnTo>
                      <a:pt x="47" y="396"/>
                    </a:lnTo>
                    <a:lnTo>
                      <a:pt x="47" y="419"/>
                    </a:lnTo>
                    <a:lnTo>
                      <a:pt x="47" y="419"/>
                    </a:lnTo>
                    <a:lnTo>
                      <a:pt x="47" y="431"/>
                    </a:lnTo>
                    <a:lnTo>
                      <a:pt x="47" y="431"/>
                    </a:lnTo>
                    <a:lnTo>
                      <a:pt x="47" y="455"/>
                    </a:lnTo>
                    <a:lnTo>
                      <a:pt x="47" y="455"/>
                    </a:lnTo>
                    <a:lnTo>
                      <a:pt x="47" y="502"/>
                    </a:lnTo>
                    <a:lnTo>
                      <a:pt x="47" y="502"/>
                    </a:lnTo>
                    <a:lnTo>
                      <a:pt x="47" y="514"/>
                    </a:lnTo>
                    <a:lnTo>
                      <a:pt x="47" y="514"/>
                    </a:lnTo>
                    <a:lnTo>
                      <a:pt x="47" y="535"/>
                    </a:lnTo>
                    <a:lnTo>
                      <a:pt x="47" y="535"/>
                    </a:lnTo>
                    <a:lnTo>
                      <a:pt x="47" y="558"/>
                    </a:lnTo>
                    <a:lnTo>
                      <a:pt x="47" y="558"/>
                    </a:lnTo>
                    <a:lnTo>
                      <a:pt x="36" y="558"/>
                    </a:lnTo>
                    <a:lnTo>
                      <a:pt x="36" y="558"/>
                    </a:lnTo>
                    <a:lnTo>
                      <a:pt x="24" y="558"/>
                    </a:lnTo>
                    <a:lnTo>
                      <a:pt x="24" y="558"/>
                    </a:lnTo>
                    <a:lnTo>
                      <a:pt x="12" y="558"/>
                    </a:lnTo>
                    <a:lnTo>
                      <a:pt x="12" y="558"/>
                    </a:lnTo>
                    <a:lnTo>
                      <a:pt x="7" y="558"/>
                    </a:lnTo>
                    <a:lnTo>
                      <a:pt x="0" y="558"/>
                    </a:lnTo>
                    <a:lnTo>
                      <a:pt x="0" y="558"/>
                    </a:lnTo>
                    <a:lnTo>
                      <a:pt x="0" y="561"/>
                    </a:lnTo>
                    <a:lnTo>
                      <a:pt x="0" y="566"/>
                    </a:lnTo>
                    <a:lnTo>
                      <a:pt x="0" y="570"/>
                    </a:lnTo>
                    <a:lnTo>
                      <a:pt x="0" y="570"/>
                    </a:lnTo>
                    <a:lnTo>
                      <a:pt x="0" y="594"/>
                    </a:lnTo>
                    <a:lnTo>
                      <a:pt x="0" y="594"/>
                    </a:lnTo>
                    <a:lnTo>
                      <a:pt x="0" y="601"/>
                    </a:lnTo>
                    <a:lnTo>
                      <a:pt x="0" y="606"/>
                    </a:lnTo>
                    <a:lnTo>
                      <a:pt x="0" y="606"/>
                    </a:lnTo>
                    <a:lnTo>
                      <a:pt x="12" y="606"/>
                    </a:lnTo>
                    <a:lnTo>
                      <a:pt x="12" y="606"/>
                    </a:lnTo>
                    <a:lnTo>
                      <a:pt x="24" y="606"/>
                    </a:lnTo>
                    <a:lnTo>
                      <a:pt x="24" y="606"/>
                    </a:lnTo>
                    <a:lnTo>
                      <a:pt x="36" y="606"/>
                    </a:lnTo>
                    <a:lnTo>
                      <a:pt x="36" y="606"/>
                    </a:lnTo>
                    <a:lnTo>
                      <a:pt x="59" y="606"/>
                    </a:lnTo>
                    <a:lnTo>
                      <a:pt x="59" y="606"/>
                    </a:lnTo>
                    <a:lnTo>
                      <a:pt x="109" y="606"/>
                    </a:lnTo>
                    <a:lnTo>
                      <a:pt x="109" y="606"/>
                    </a:lnTo>
                    <a:lnTo>
                      <a:pt x="132" y="606"/>
                    </a:lnTo>
                    <a:lnTo>
                      <a:pt x="132" y="606"/>
                    </a:lnTo>
                    <a:lnTo>
                      <a:pt x="156" y="606"/>
                    </a:lnTo>
                    <a:lnTo>
                      <a:pt x="156" y="606"/>
                    </a:lnTo>
                    <a:lnTo>
                      <a:pt x="168" y="606"/>
                    </a:lnTo>
                    <a:lnTo>
                      <a:pt x="168" y="606"/>
                    </a:lnTo>
                    <a:lnTo>
                      <a:pt x="191" y="606"/>
                    </a:lnTo>
                    <a:lnTo>
                      <a:pt x="191" y="606"/>
                    </a:lnTo>
                    <a:lnTo>
                      <a:pt x="203" y="606"/>
                    </a:lnTo>
                    <a:lnTo>
                      <a:pt x="203" y="606"/>
                    </a:lnTo>
                    <a:lnTo>
                      <a:pt x="226" y="606"/>
                    </a:lnTo>
                    <a:lnTo>
                      <a:pt x="226" y="606"/>
                    </a:lnTo>
                    <a:lnTo>
                      <a:pt x="238" y="606"/>
                    </a:lnTo>
                    <a:lnTo>
                      <a:pt x="238" y="606"/>
                    </a:lnTo>
                    <a:lnTo>
                      <a:pt x="262" y="606"/>
                    </a:lnTo>
                    <a:lnTo>
                      <a:pt x="262" y="606"/>
                    </a:lnTo>
                    <a:lnTo>
                      <a:pt x="274" y="606"/>
                    </a:lnTo>
                    <a:lnTo>
                      <a:pt x="274" y="606"/>
                    </a:lnTo>
                    <a:lnTo>
                      <a:pt x="297" y="606"/>
                    </a:lnTo>
                    <a:lnTo>
                      <a:pt x="297" y="606"/>
                    </a:lnTo>
                    <a:lnTo>
                      <a:pt x="309" y="606"/>
                    </a:lnTo>
                    <a:lnTo>
                      <a:pt x="309" y="606"/>
                    </a:lnTo>
                    <a:lnTo>
                      <a:pt x="332" y="606"/>
                    </a:lnTo>
                    <a:lnTo>
                      <a:pt x="332" y="606"/>
                    </a:lnTo>
                    <a:lnTo>
                      <a:pt x="344" y="606"/>
                    </a:lnTo>
                    <a:lnTo>
                      <a:pt x="344" y="606"/>
                    </a:lnTo>
                    <a:lnTo>
                      <a:pt x="368" y="606"/>
                    </a:lnTo>
                    <a:lnTo>
                      <a:pt x="368" y="606"/>
                    </a:lnTo>
                    <a:lnTo>
                      <a:pt x="380" y="606"/>
                    </a:lnTo>
                    <a:lnTo>
                      <a:pt x="380" y="606"/>
                    </a:lnTo>
                    <a:lnTo>
                      <a:pt x="403" y="606"/>
                    </a:lnTo>
                    <a:lnTo>
                      <a:pt x="403" y="606"/>
                    </a:lnTo>
                    <a:lnTo>
                      <a:pt x="427" y="606"/>
                    </a:lnTo>
                    <a:lnTo>
                      <a:pt x="427" y="606"/>
                    </a:lnTo>
                    <a:lnTo>
                      <a:pt x="439" y="606"/>
                    </a:lnTo>
                    <a:lnTo>
                      <a:pt x="439" y="606"/>
                    </a:lnTo>
                    <a:lnTo>
                      <a:pt x="462" y="606"/>
                    </a:lnTo>
                    <a:lnTo>
                      <a:pt x="462" y="606"/>
                    </a:lnTo>
                    <a:lnTo>
                      <a:pt x="474" y="606"/>
                    </a:lnTo>
                    <a:lnTo>
                      <a:pt x="474" y="606"/>
                    </a:lnTo>
                    <a:lnTo>
                      <a:pt x="500" y="606"/>
                    </a:lnTo>
                    <a:lnTo>
                      <a:pt x="500" y="606"/>
                    </a:lnTo>
                    <a:lnTo>
                      <a:pt x="512" y="606"/>
                    </a:lnTo>
                    <a:lnTo>
                      <a:pt x="512" y="606"/>
                    </a:lnTo>
                    <a:lnTo>
                      <a:pt x="535" y="606"/>
                    </a:lnTo>
                    <a:lnTo>
                      <a:pt x="535" y="606"/>
                    </a:lnTo>
                    <a:lnTo>
                      <a:pt x="547" y="606"/>
                    </a:lnTo>
                    <a:lnTo>
                      <a:pt x="547" y="606"/>
                    </a:lnTo>
                    <a:lnTo>
                      <a:pt x="570" y="606"/>
                    </a:lnTo>
                    <a:lnTo>
                      <a:pt x="570" y="606"/>
                    </a:lnTo>
                    <a:lnTo>
                      <a:pt x="582" y="606"/>
                    </a:lnTo>
                    <a:lnTo>
                      <a:pt x="582" y="606"/>
                    </a:lnTo>
                    <a:lnTo>
                      <a:pt x="606" y="606"/>
                    </a:lnTo>
                    <a:lnTo>
                      <a:pt x="606" y="606"/>
                    </a:lnTo>
                    <a:lnTo>
                      <a:pt x="618" y="606"/>
                    </a:lnTo>
                    <a:lnTo>
                      <a:pt x="618" y="606"/>
                    </a:lnTo>
                    <a:lnTo>
                      <a:pt x="641" y="606"/>
                    </a:lnTo>
                    <a:lnTo>
                      <a:pt x="641" y="606"/>
                    </a:lnTo>
                    <a:lnTo>
                      <a:pt x="653" y="606"/>
                    </a:lnTo>
                    <a:lnTo>
                      <a:pt x="653" y="606"/>
                    </a:lnTo>
                    <a:lnTo>
                      <a:pt x="676" y="606"/>
                    </a:lnTo>
                    <a:lnTo>
                      <a:pt x="676" y="606"/>
                    </a:lnTo>
                    <a:lnTo>
                      <a:pt x="700" y="606"/>
                    </a:lnTo>
                    <a:lnTo>
                      <a:pt x="700" y="606"/>
                    </a:lnTo>
                    <a:lnTo>
                      <a:pt x="712" y="606"/>
                    </a:lnTo>
                    <a:lnTo>
                      <a:pt x="712" y="606"/>
                    </a:lnTo>
                    <a:lnTo>
                      <a:pt x="735" y="606"/>
                    </a:lnTo>
                    <a:lnTo>
                      <a:pt x="735" y="606"/>
                    </a:lnTo>
                    <a:lnTo>
                      <a:pt x="747" y="606"/>
                    </a:lnTo>
                    <a:lnTo>
                      <a:pt x="747" y="606"/>
                    </a:lnTo>
                    <a:lnTo>
                      <a:pt x="771" y="606"/>
                    </a:lnTo>
                    <a:lnTo>
                      <a:pt x="771" y="606"/>
                    </a:lnTo>
                    <a:lnTo>
                      <a:pt x="783" y="606"/>
                    </a:lnTo>
                    <a:lnTo>
                      <a:pt x="783" y="606"/>
                    </a:lnTo>
                    <a:lnTo>
                      <a:pt x="806" y="606"/>
                    </a:lnTo>
                    <a:lnTo>
                      <a:pt x="806" y="606"/>
                    </a:lnTo>
                    <a:lnTo>
                      <a:pt x="818" y="606"/>
                    </a:lnTo>
                    <a:lnTo>
                      <a:pt x="818" y="606"/>
                    </a:lnTo>
                    <a:lnTo>
                      <a:pt x="841" y="606"/>
                    </a:lnTo>
                    <a:lnTo>
                      <a:pt x="841" y="606"/>
                    </a:lnTo>
                    <a:lnTo>
                      <a:pt x="853" y="606"/>
                    </a:lnTo>
                    <a:lnTo>
                      <a:pt x="853" y="606"/>
                    </a:lnTo>
                    <a:lnTo>
                      <a:pt x="877" y="606"/>
                    </a:lnTo>
                    <a:lnTo>
                      <a:pt x="877" y="606"/>
                    </a:lnTo>
                    <a:lnTo>
                      <a:pt x="891" y="606"/>
                    </a:lnTo>
                    <a:lnTo>
                      <a:pt x="891" y="606"/>
                    </a:lnTo>
                    <a:lnTo>
                      <a:pt x="914" y="606"/>
                    </a:lnTo>
                    <a:lnTo>
                      <a:pt x="914" y="606"/>
                    </a:lnTo>
                    <a:lnTo>
                      <a:pt x="926" y="606"/>
                    </a:lnTo>
                    <a:lnTo>
                      <a:pt x="926" y="606"/>
                    </a:lnTo>
                    <a:lnTo>
                      <a:pt x="950" y="606"/>
                    </a:lnTo>
                    <a:lnTo>
                      <a:pt x="950" y="606"/>
                    </a:lnTo>
                    <a:lnTo>
                      <a:pt x="962" y="606"/>
                    </a:lnTo>
                    <a:lnTo>
                      <a:pt x="962" y="606"/>
                    </a:lnTo>
                    <a:lnTo>
                      <a:pt x="985" y="606"/>
                    </a:lnTo>
                    <a:lnTo>
                      <a:pt x="985" y="606"/>
                    </a:lnTo>
                    <a:lnTo>
                      <a:pt x="997" y="606"/>
                    </a:lnTo>
                    <a:lnTo>
                      <a:pt x="997" y="606"/>
                    </a:lnTo>
                    <a:lnTo>
                      <a:pt x="1020" y="606"/>
                    </a:lnTo>
                    <a:lnTo>
                      <a:pt x="1020" y="606"/>
                    </a:lnTo>
                    <a:lnTo>
                      <a:pt x="1032" y="606"/>
                    </a:lnTo>
                    <a:lnTo>
                      <a:pt x="1032" y="606"/>
                    </a:lnTo>
                    <a:lnTo>
                      <a:pt x="1056" y="606"/>
                    </a:lnTo>
                    <a:lnTo>
                      <a:pt x="1056" y="606"/>
                    </a:lnTo>
                    <a:lnTo>
                      <a:pt x="1068" y="606"/>
                    </a:lnTo>
                    <a:lnTo>
                      <a:pt x="1068" y="606"/>
                    </a:lnTo>
                    <a:lnTo>
                      <a:pt x="1091" y="606"/>
                    </a:lnTo>
                    <a:lnTo>
                      <a:pt x="1091" y="606"/>
                    </a:lnTo>
                    <a:lnTo>
                      <a:pt x="1103" y="606"/>
                    </a:lnTo>
                    <a:lnTo>
                      <a:pt x="1103" y="606"/>
                    </a:lnTo>
                    <a:lnTo>
                      <a:pt x="1127" y="606"/>
                    </a:lnTo>
                    <a:lnTo>
                      <a:pt x="1127" y="606"/>
                    </a:lnTo>
                    <a:lnTo>
                      <a:pt x="1138" y="606"/>
                    </a:lnTo>
                    <a:lnTo>
                      <a:pt x="1138" y="606"/>
                    </a:lnTo>
                    <a:lnTo>
                      <a:pt x="1162" y="606"/>
                    </a:lnTo>
                    <a:lnTo>
                      <a:pt x="1162" y="606"/>
                    </a:lnTo>
                    <a:lnTo>
                      <a:pt x="1174" y="606"/>
                    </a:lnTo>
                    <a:lnTo>
                      <a:pt x="1174" y="606"/>
                    </a:lnTo>
                    <a:lnTo>
                      <a:pt x="1197" y="606"/>
                    </a:lnTo>
                    <a:lnTo>
                      <a:pt x="1197" y="606"/>
                    </a:lnTo>
                    <a:lnTo>
                      <a:pt x="1209" y="606"/>
                    </a:lnTo>
                    <a:lnTo>
                      <a:pt x="1209" y="606"/>
                    </a:lnTo>
                    <a:lnTo>
                      <a:pt x="1233" y="606"/>
                    </a:lnTo>
                    <a:lnTo>
                      <a:pt x="1233" y="606"/>
                    </a:lnTo>
                    <a:lnTo>
                      <a:pt x="1256" y="606"/>
                    </a:lnTo>
                    <a:lnTo>
                      <a:pt x="1256" y="606"/>
                    </a:lnTo>
                    <a:lnTo>
                      <a:pt x="1268" y="606"/>
                    </a:lnTo>
                    <a:lnTo>
                      <a:pt x="1268" y="606"/>
                    </a:lnTo>
                    <a:lnTo>
                      <a:pt x="1291" y="606"/>
                    </a:lnTo>
                    <a:lnTo>
                      <a:pt x="1291" y="606"/>
                    </a:lnTo>
                    <a:lnTo>
                      <a:pt x="1306" y="606"/>
                    </a:lnTo>
                    <a:lnTo>
                      <a:pt x="1306" y="606"/>
                    </a:lnTo>
                    <a:lnTo>
                      <a:pt x="1329" y="606"/>
                    </a:lnTo>
                    <a:lnTo>
                      <a:pt x="1329" y="606"/>
                    </a:lnTo>
                    <a:lnTo>
                      <a:pt x="1341" y="606"/>
                    </a:lnTo>
                    <a:lnTo>
                      <a:pt x="1341" y="606"/>
                    </a:lnTo>
                    <a:lnTo>
                      <a:pt x="1365" y="606"/>
                    </a:lnTo>
                    <a:lnTo>
                      <a:pt x="1365" y="606"/>
                    </a:lnTo>
                    <a:lnTo>
                      <a:pt x="1376" y="606"/>
                    </a:lnTo>
                    <a:lnTo>
                      <a:pt x="1376" y="606"/>
                    </a:lnTo>
                    <a:lnTo>
                      <a:pt x="1400" y="606"/>
                    </a:lnTo>
                    <a:lnTo>
                      <a:pt x="1400" y="606"/>
                    </a:lnTo>
                    <a:lnTo>
                      <a:pt x="1412" y="606"/>
                    </a:lnTo>
                    <a:lnTo>
                      <a:pt x="1412" y="606"/>
                    </a:lnTo>
                    <a:lnTo>
                      <a:pt x="1435" y="606"/>
                    </a:lnTo>
                    <a:lnTo>
                      <a:pt x="1435" y="606"/>
                    </a:lnTo>
                    <a:lnTo>
                      <a:pt x="1447" y="606"/>
                    </a:lnTo>
                    <a:lnTo>
                      <a:pt x="1447" y="606"/>
                    </a:lnTo>
                    <a:lnTo>
                      <a:pt x="1471" y="606"/>
                    </a:lnTo>
                    <a:lnTo>
                      <a:pt x="1471" y="606"/>
                    </a:lnTo>
                    <a:lnTo>
                      <a:pt x="1482" y="606"/>
                    </a:lnTo>
                    <a:lnTo>
                      <a:pt x="1482" y="606"/>
                    </a:lnTo>
                    <a:lnTo>
                      <a:pt x="1506" y="606"/>
                    </a:lnTo>
                    <a:lnTo>
                      <a:pt x="1506" y="606"/>
                    </a:lnTo>
                    <a:lnTo>
                      <a:pt x="1529" y="606"/>
                    </a:lnTo>
                    <a:lnTo>
                      <a:pt x="1529" y="606"/>
                    </a:lnTo>
                    <a:lnTo>
                      <a:pt x="1541" y="606"/>
                    </a:lnTo>
                    <a:lnTo>
                      <a:pt x="1541" y="606"/>
                    </a:lnTo>
                    <a:lnTo>
                      <a:pt x="1565" y="606"/>
                    </a:lnTo>
                    <a:lnTo>
                      <a:pt x="1565" y="606"/>
                    </a:lnTo>
                    <a:lnTo>
                      <a:pt x="1577" y="606"/>
                    </a:lnTo>
                    <a:lnTo>
                      <a:pt x="1577" y="606"/>
                    </a:lnTo>
                    <a:lnTo>
                      <a:pt x="1600" y="606"/>
                    </a:lnTo>
                    <a:lnTo>
                      <a:pt x="1600" y="606"/>
                    </a:lnTo>
                    <a:lnTo>
                      <a:pt x="1612" y="606"/>
                    </a:lnTo>
                    <a:lnTo>
                      <a:pt x="1612" y="606"/>
                    </a:lnTo>
                    <a:lnTo>
                      <a:pt x="1635" y="606"/>
                    </a:lnTo>
                    <a:lnTo>
                      <a:pt x="1635" y="606"/>
                    </a:lnTo>
                    <a:lnTo>
                      <a:pt x="1647" y="606"/>
                    </a:lnTo>
                    <a:lnTo>
                      <a:pt x="1647" y="606"/>
                    </a:lnTo>
                    <a:lnTo>
                      <a:pt x="1671" y="606"/>
                    </a:lnTo>
                    <a:lnTo>
                      <a:pt x="1671" y="606"/>
                    </a:lnTo>
                    <a:lnTo>
                      <a:pt x="1683" y="606"/>
                    </a:lnTo>
                    <a:lnTo>
                      <a:pt x="1683" y="606"/>
                    </a:lnTo>
                    <a:lnTo>
                      <a:pt x="1709" y="606"/>
                    </a:lnTo>
                    <a:lnTo>
                      <a:pt x="1709" y="606"/>
                    </a:lnTo>
                    <a:lnTo>
                      <a:pt x="1720" y="606"/>
                    </a:lnTo>
                    <a:lnTo>
                      <a:pt x="1720" y="606"/>
                    </a:lnTo>
                    <a:lnTo>
                      <a:pt x="1744" y="606"/>
                    </a:lnTo>
                    <a:lnTo>
                      <a:pt x="1744" y="606"/>
                    </a:lnTo>
                    <a:lnTo>
                      <a:pt x="1756" y="606"/>
                    </a:lnTo>
                    <a:lnTo>
                      <a:pt x="1756" y="606"/>
                    </a:lnTo>
                    <a:lnTo>
                      <a:pt x="1779" y="606"/>
                    </a:lnTo>
                    <a:lnTo>
                      <a:pt x="1779" y="606"/>
                    </a:lnTo>
                    <a:lnTo>
                      <a:pt x="1803" y="606"/>
                    </a:lnTo>
                    <a:lnTo>
                      <a:pt x="1803" y="606"/>
                    </a:lnTo>
                    <a:lnTo>
                      <a:pt x="1815" y="606"/>
                    </a:lnTo>
                    <a:lnTo>
                      <a:pt x="1815" y="606"/>
                    </a:lnTo>
                    <a:lnTo>
                      <a:pt x="1838" y="606"/>
                    </a:lnTo>
                    <a:lnTo>
                      <a:pt x="1838" y="606"/>
                    </a:lnTo>
                    <a:lnTo>
                      <a:pt x="1850" y="606"/>
                    </a:lnTo>
                    <a:lnTo>
                      <a:pt x="1850" y="606"/>
                    </a:lnTo>
                    <a:lnTo>
                      <a:pt x="1873" y="606"/>
                    </a:lnTo>
                    <a:lnTo>
                      <a:pt x="1873" y="606"/>
                    </a:lnTo>
                    <a:lnTo>
                      <a:pt x="1885" y="606"/>
                    </a:lnTo>
                    <a:lnTo>
                      <a:pt x="1885" y="606"/>
                    </a:lnTo>
                    <a:lnTo>
                      <a:pt x="1909" y="606"/>
                    </a:lnTo>
                    <a:lnTo>
                      <a:pt x="1909" y="606"/>
                    </a:lnTo>
                    <a:lnTo>
                      <a:pt x="1921" y="606"/>
                    </a:lnTo>
                    <a:lnTo>
                      <a:pt x="1921" y="606"/>
                    </a:lnTo>
                    <a:lnTo>
                      <a:pt x="1944" y="606"/>
                    </a:lnTo>
                    <a:lnTo>
                      <a:pt x="1944" y="606"/>
                    </a:lnTo>
                    <a:lnTo>
                      <a:pt x="1956" y="606"/>
                    </a:lnTo>
                    <a:lnTo>
                      <a:pt x="1956" y="606"/>
                    </a:lnTo>
                    <a:lnTo>
                      <a:pt x="1979" y="606"/>
                    </a:lnTo>
                    <a:lnTo>
                      <a:pt x="1979" y="606"/>
                    </a:lnTo>
                    <a:lnTo>
                      <a:pt x="1991" y="606"/>
                    </a:lnTo>
                    <a:lnTo>
                      <a:pt x="1991" y="606"/>
                    </a:lnTo>
                    <a:lnTo>
                      <a:pt x="2015" y="606"/>
                    </a:lnTo>
                    <a:lnTo>
                      <a:pt x="2015" y="606"/>
                    </a:lnTo>
                    <a:lnTo>
                      <a:pt x="2027" y="606"/>
                    </a:lnTo>
                    <a:lnTo>
                      <a:pt x="2027" y="606"/>
                    </a:lnTo>
                    <a:lnTo>
                      <a:pt x="2050" y="606"/>
                    </a:lnTo>
                    <a:lnTo>
                      <a:pt x="2050" y="606"/>
                    </a:lnTo>
                    <a:lnTo>
                      <a:pt x="2062" y="606"/>
                    </a:lnTo>
                    <a:lnTo>
                      <a:pt x="2062" y="606"/>
                    </a:lnTo>
                    <a:lnTo>
                      <a:pt x="2085" y="606"/>
                    </a:lnTo>
                    <a:lnTo>
                      <a:pt x="2085" y="606"/>
                    </a:lnTo>
                    <a:lnTo>
                      <a:pt x="2097" y="606"/>
                    </a:lnTo>
                    <a:lnTo>
                      <a:pt x="2097" y="606"/>
                    </a:lnTo>
                    <a:lnTo>
                      <a:pt x="2123" y="606"/>
                    </a:lnTo>
                    <a:lnTo>
                      <a:pt x="2123" y="606"/>
                    </a:lnTo>
                    <a:lnTo>
                      <a:pt x="2135" y="606"/>
                    </a:lnTo>
                    <a:lnTo>
                      <a:pt x="2135" y="606"/>
                    </a:lnTo>
                    <a:lnTo>
                      <a:pt x="2159" y="606"/>
                    </a:lnTo>
                    <a:lnTo>
                      <a:pt x="2159" y="606"/>
                    </a:lnTo>
                    <a:lnTo>
                      <a:pt x="2170" y="606"/>
                    </a:lnTo>
                    <a:lnTo>
                      <a:pt x="2170" y="606"/>
                    </a:lnTo>
                    <a:lnTo>
                      <a:pt x="2194" y="606"/>
                    </a:lnTo>
                    <a:lnTo>
                      <a:pt x="2194" y="606"/>
                    </a:lnTo>
                    <a:lnTo>
                      <a:pt x="2206" y="606"/>
                    </a:lnTo>
                    <a:lnTo>
                      <a:pt x="2206" y="606"/>
                    </a:lnTo>
                    <a:lnTo>
                      <a:pt x="2229" y="606"/>
                    </a:lnTo>
                    <a:lnTo>
                      <a:pt x="2229" y="606"/>
                    </a:lnTo>
                    <a:lnTo>
                      <a:pt x="2241" y="606"/>
                    </a:lnTo>
                    <a:lnTo>
                      <a:pt x="2241" y="606"/>
                    </a:lnTo>
                    <a:lnTo>
                      <a:pt x="2265" y="606"/>
                    </a:lnTo>
                    <a:lnTo>
                      <a:pt x="2265" y="606"/>
                    </a:lnTo>
                    <a:lnTo>
                      <a:pt x="2276" y="606"/>
                    </a:lnTo>
                    <a:lnTo>
                      <a:pt x="2276" y="606"/>
                    </a:lnTo>
                    <a:lnTo>
                      <a:pt x="2300" y="606"/>
                    </a:lnTo>
                    <a:lnTo>
                      <a:pt x="2300" y="606"/>
                    </a:lnTo>
                    <a:lnTo>
                      <a:pt x="2312" y="606"/>
                    </a:lnTo>
                    <a:lnTo>
                      <a:pt x="2312" y="606"/>
                    </a:lnTo>
                    <a:lnTo>
                      <a:pt x="2335" y="606"/>
                    </a:lnTo>
                    <a:lnTo>
                      <a:pt x="2335" y="606"/>
                    </a:lnTo>
                    <a:lnTo>
                      <a:pt x="2338" y="606"/>
                    </a:lnTo>
                    <a:lnTo>
                      <a:pt x="2338" y="490"/>
                    </a:lnTo>
                    <a:close/>
                  </a:path>
                </a:pathLst>
              </a:custGeom>
              <a:solidFill>
                <a:schemeClr val="accent2">
                  <a:alpha val="58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72" name="Freeform 71"/>
            <p:cNvSpPr>
              <a:spLocks/>
            </p:cNvSpPr>
            <p:nvPr/>
          </p:nvSpPr>
          <p:spPr bwMode="auto">
            <a:xfrm>
              <a:off x="4648200" y="2794175"/>
              <a:ext cx="3702050" cy="890588"/>
            </a:xfrm>
            <a:custGeom>
              <a:avLst/>
              <a:gdLst>
                <a:gd name="T0" fmla="*/ 2259 w 2332"/>
                <a:gd name="T1" fmla="*/ 513 h 561"/>
                <a:gd name="T2" fmla="*/ 2177 w 2332"/>
                <a:gd name="T3" fmla="*/ 466 h 561"/>
                <a:gd name="T4" fmla="*/ 2059 w 2332"/>
                <a:gd name="T5" fmla="*/ 452 h 561"/>
                <a:gd name="T6" fmla="*/ 2005 w 2332"/>
                <a:gd name="T7" fmla="*/ 452 h 561"/>
                <a:gd name="T8" fmla="*/ 1927 w 2332"/>
                <a:gd name="T9" fmla="*/ 466 h 561"/>
                <a:gd name="T10" fmla="*/ 1892 w 2332"/>
                <a:gd name="T11" fmla="*/ 478 h 561"/>
                <a:gd name="T12" fmla="*/ 1837 w 2332"/>
                <a:gd name="T13" fmla="*/ 429 h 561"/>
                <a:gd name="T14" fmla="*/ 1797 w 2332"/>
                <a:gd name="T15" fmla="*/ 228 h 561"/>
                <a:gd name="T16" fmla="*/ 1748 w 2332"/>
                <a:gd name="T17" fmla="*/ 167 h 561"/>
                <a:gd name="T18" fmla="*/ 1630 w 2332"/>
                <a:gd name="T19" fmla="*/ 155 h 561"/>
                <a:gd name="T20" fmla="*/ 1618 w 2332"/>
                <a:gd name="T21" fmla="*/ 228 h 561"/>
                <a:gd name="T22" fmla="*/ 1576 w 2332"/>
                <a:gd name="T23" fmla="*/ 202 h 561"/>
                <a:gd name="T24" fmla="*/ 1486 w 2332"/>
                <a:gd name="T25" fmla="*/ 217 h 561"/>
                <a:gd name="T26" fmla="*/ 1451 w 2332"/>
                <a:gd name="T27" fmla="*/ 334 h 561"/>
                <a:gd name="T28" fmla="*/ 1416 w 2332"/>
                <a:gd name="T29" fmla="*/ 358 h 561"/>
                <a:gd name="T30" fmla="*/ 1357 w 2332"/>
                <a:gd name="T31" fmla="*/ 275 h 561"/>
                <a:gd name="T32" fmla="*/ 1357 w 2332"/>
                <a:gd name="T33" fmla="*/ 108 h 561"/>
                <a:gd name="T34" fmla="*/ 1296 w 2332"/>
                <a:gd name="T35" fmla="*/ 68 h 561"/>
                <a:gd name="T36" fmla="*/ 1225 w 2332"/>
                <a:gd name="T37" fmla="*/ 66 h 561"/>
                <a:gd name="T38" fmla="*/ 1201 w 2332"/>
                <a:gd name="T39" fmla="*/ 89 h 561"/>
                <a:gd name="T40" fmla="*/ 1178 w 2332"/>
                <a:gd name="T41" fmla="*/ 120 h 561"/>
                <a:gd name="T42" fmla="*/ 1166 w 2332"/>
                <a:gd name="T43" fmla="*/ 240 h 561"/>
                <a:gd name="T44" fmla="*/ 1135 w 2332"/>
                <a:gd name="T45" fmla="*/ 287 h 561"/>
                <a:gd name="T46" fmla="*/ 1046 w 2332"/>
                <a:gd name="T47" fmla="*/ 299 h 561"/>
                <a:gd name="T48" fmla="*/ 1008 w 2332"/>
                <a:gd name="T49" fmla="*/ 323 h 561"/>
                <a:gd name="T50" fmla="*/ 963 w 2332"/>
                <a:gd name="T51" fmla="*/ 217 h 561"/>
                <a:gd name="T52" fmla="*/ 881 w 2332"/>
                <a:gd name="T53" fmla="*/ 132 h 561"/>
                <a:gd name="T54" fmla="*/ 834 w 2332"/>
                <a:gd name="T55" fmla="*/ 96 h 561"/>
                <a:gd name="T56" fmla="*/ 810 w 2332"/>
                <a:gd name="T57" fmla="*/ 120 h 561"/>
                <a:gd name="T58" fmla="*/ 784 w 2332"/>
                <a:gd name="T59" fmla="*/ 217 h 561"/>
                <a:gd name="T60" fmla="*/ 737 w 2332"/>
                <a:gd name="T61" fmla="*/ 275 h 561"/>
                <a:gd name="T62" fmla="*/ 643 w 2332"/>
                <a:gd name="T63" fmla="*/ 144 h 561"/>
                <a:gd name="T64" fmla="*/ 631 w 2332"/>
                <a:gd name="T65" fmla="*/ 73 h 561"/>
                <a:gd name="T66" fmla="*/ 584 w 2332"/>
                <a:gd name="T67" fmla="*/ 108 h 561"/>
                <a:gd name="T68" fmla="*/ 511 w 2332"/>
                <a:gd name="T69" fmla="*/ 144 h 561"/>
                <a:gd name="T70" fmla="*/ 499 w 2332"/>
                <a:gd name="T71" fmla="*/ 191 h 561"/>
                <a:gd name="T72" fmla="*/ 476 w 2332"/>
                <a:gd name="T73" fmla="*/ 191 h 561"/>
                <a:gd name="T74" fmla="*/ 452 w 2332"/>
                <a:gd name="T75" fmla="*/ 108 h 561"/>
                <a:gd name="T76" fmla="*/ 440 w 2332"/>
                <a:gd name="T77" fmla="*/ 26 h 561"/>
                <a:gd name="T78" fmla="*/ 428 w 2332"/>
                <a:gd name="T79" fmla="*/ 49 h 561"/>
                <a:gd name="T80" fmla="*/ 405 w 2332"/>
                <a:gd name="T81" fmla="*/ 108 h 561"/>
                <a:gd name="T82" fmla="*/ 358 w 2332"/>
                <a:gd name="T83" fmla="*/ 252 h 561"/>
                <a:gd name="T84" fmla="*/ 304 w 2332"/>
                <a:gd name="T85" fmla="*/ 181 h 561"/>
                <a:gd name="T86" fmla="*/ 214 w 2332"/>
                <a:gd name="T87" fmla="*/ 179 h 561"/>
                <a:gd name="T88" fmla="*/ 167 w 2332"/>
                <a:gd name="T89" fmla="*/ 250 h 561"/>
                <a:gd name="T90" fmla="*/ 143 w 2332"/>
                <a:gd name="T91" fmla="*/ 299 h 561"/>
                <a:gd name="T92" fmla="*/ 120 w 2332"/>
                <a:gd name="T93" fmla="*/ 334 h 561"/>
                <a:gd name="T94" fmla="*/ 35 w 2332"/>
                <a:gd name="T95" fmla="*/ 561 h 561"/>
                <a:gd name="T96" fmla="*/ 190 w 2332"/>
                <a:gd name="T97" fmla="*/ 561 h 561"/>
                <a:gd name="T98" fmla="*/ 381 w 2332"/>
                <a:gd name="T99" fmla="*/ 561 h 561"/>
                <a:gd name="T100" fmla="*/ 558 w 2332"/>
                <a:gd name="T101" fmla="*/ 561 h 561"/>
                <a:gd name="T102" fmla="*/ 725 w 2332"/>
                <a:gd name="T103" fmla="*/ 561 h 561"/>
                <a:gd name="T104" fmla="*/ 881 w 2332"/>
                <a:gd name="T105" fmla="*/ 561 h 561"/>
                <a:gd name="T106" fmla="*/ 1046 w 2332"/>
                <a:gd name="T107" fmla="*/ 561 h 561"/>
                <a:gd name="T108" fmla="*/ 1225 w 2332"/>
                <a:gd name="T109" fmla="*/ 561 h 561"/>
                <a:gd name="T110" fmla="*/ 1416 w 2332"/>
                <a:gd name="T111" fmla="*/ 561 h 561"/>
                <a:gd name="T112" fmla="*/ 1571 w 2332"/>
                <a:gd name="T113" fmla="*/ 561 h 561"/>
                <a:gd name="T114" fmla="*/ 1760 w 2332"/>
                <a:gd name="T115" fmla="*/ 561 h 561"/>
                <a:gd name="T116" fmla="*/ 1951 w 2332"/>
                <a:gd name="T117" fmla="*/ 561 h 561"/>
                <a:gd name="T118" fmla="*/ 2153 w 2332"/>
                <a:gd name="T119" fmla="*/ 561 h 561"/>
                <a:gd name="T120" fmla="*/ 2332 w 2332"/>
                <a:gd name="T121" fmla="*/ 561 h 5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32" h="561">
                  <a:moveTo>
                    <a:pt x="2332" y="549"/>
                  </a:moveTo>
                  <a:lnTo>
                    <a:pt x="2332" y="549"/>
                  </a:lnTo>
                  <a:lnTo>
                    <a:pt x="2332" y="525"/>
                  </a:lnTo>
                  <a:lnTo>
                    <a:pt x="2332" y="525"/>
                  </a:lnTo>
                  <a:lnTo>
                    <a:pt x="2332" y="518"/>
                  </a:lnTo>
                  <a:lnTo>
                    <a:pt x="2332" y="513"/>
                  </a:lnTo>
                  <a:lnTo>
                    <a:pt x="2332" y="513"/>
                  </a:lnTo>
                  <a:lnTo>
                    <a:pt x="2325" y="513"/>
                  </a:lnTo>
                  <a:lnTo>
                    <a:pt x="2320" y="513"/>
                  </a:lnTo>
                  <a:lnTo>
                    <a:pt x="2320" y="513"/>
                  </a:lnTo>
                  <a:lnTo>
                    <a:pt x="2309" y="513"/>
                  </a:lnTo>
                  <a:lnTo>
                    <a:pt x="2309" y="513"/>
                  </a:lnTo>
                  <a:lnTo>
                    <a:pt x="2297" y="513"/>
                  </a:lnTo>
                  <a:lnTo>
                    <a:pt x="2297" y="513"/>
                  </a:lnTo>
                  <a:lnTo>
                    <a:pt x="2271" y="513"/>
                  </a:lnTo>
                  <a:lnTo>
                    <a:pt x="2271" y="513"/>
                  </a:lnTo>
                  <a:lnTo>
                    <a:pt x="2259" y="513"/>
                  </a:lnTo>
                  <a:lnTo>
                    <a:pt x="2259" y="513"/>
                  </a:lnTo>
                  <a:lnTo>
                    <a:pt x="2236" y="513"/>
                  </a:lnTo>
                  <a:lnTo>
                    <a:pt x="2236" y="513"/>
                  </a:lnTo>
                  <a:lnTo>
                    <a:pt x="2188" y="513"/>
                  </a:lnTo>
                  <a:lnTo>
                    <a:pt x="2188" y="513"/>
                  </a:lnTo>
                  <a:lnTo>
                    <a:pt x="2188" y="502"/>
                  </a:lnTo>
                  <a:lnTo>
                    <a:pt x="2188" y="502"/>
                  </a:lnTo>
                  <a:lnTo>
                    <a:pt x="2188" y="490"/>
                  </a:lnTo>
                  <a:lnTo>
                    <a:pt x="2188" y="490"/>
                  </a:lnTo>
                  <a:lnTo>
                    <a:pt x="2188" y="483"/>
                  </a:lnTo>
                  <a:lnTo>
                    <a:pt x="2188" y="478"/>
                  </a:lnTo>
                  <a:lnTo>
                    <a:pt x="2188" y="478"/>
                  </a:lnTo>
                  <a:lnTo>
                    <a:pt x="2184" y="478"/>
                  </a:lnTo>
                  <a:lnTo>
                    <a:pt x="2177" y="478"/>
                  </a:lnTo>
                  <a:lnTo>
                    <a:pt x="2177" y="478"/>
                  </a:lnTo>
                  <a:lnTo>
                    <a:pt x="2177" y="476"/>
                  </a:lnTo>
                  <a:lnTo>
                    <a:pt x="2177" y="471"/>
                  </a:lnTo>
                  <a:lnTo>
                    <a:pt x="2177" y="469"/>
                  </a:lnTo>
                  <a:lnTo>
                    <a:pt x="2177" y="466"/>
                  </a:lnTo>
                  <a:lnTo>
                    <a:pt x="2177" y="466"/>
                  </a:lnTo>
                  <a:lnTo>
                    <a:pt x="2174" y="464"/>
                  </a:lnTo>
                  <a:lnTo>
                    <a:pt x="2172" y="466"/>
                  </a:lnTo>
                  <a:lnTo>
                    <a:pt x="2167" y="466"/>
                  </a:lnTo>
                  <a:lnTo>
                    <a:pt x="2165" y="466"/>
                  </a:lnTo>
                  <a:lnTo>
                    <a:pt x="2165" y="466"/>
                  </a:lnTo>
                  <a:lnTo>
                    <a:pt x="2165" y="464"/>
                  </a:lnTo>
                  <a:lnTo>
                    <a:pt x="2165" y="459"/>
                  </a:lnTo>
                  <a:lnTo>
                    <a:pt x="2165" y="452"/>
                  </a:lnTo>
                  <a:lnTo>
                    <a:pt x="2165" y="452"/>
                  </a:lnTo>
                  <a:lnTo>
                    <a:pt x="2153" y="452"/>
                  </a:lnTo>
                  <a:lnTo>
                    <a:pt x="2153" y="452"/>
                  </a:lnTo>
                  <a:lnTo>
                    <a:pt x="2130" y="452"/>
                  </a:lnTo>
                  <a:lnTo>
                    <a:pt x="2130" y="452"/>
                  </a:lnTo>
                  <a:lnTo>
                    <a:pt x="2082" y="452"/>
                  </a:lnTo>
                  <a:lnTo>
                    <a:pt x="2082" y="452"/>
                  </a:lnTo>
                  <a:lnTo>
                    <a:pt x="2059" y="452"/>
                  </a:lnTo>
                  <a:lnTo>
                    <a:pt x="2059" y="452"/>
                  </a:lnTo>
                  <a:lnTo>
                    <a:pt x="2052" y="452"/>
                  </a:lnTo>
                  <a:lnTo>
                    <a:pt x="2047" y="452"/>
                  </a:lnTo>
                  <a:lnTo>
                    <a:pt x="2047" y="452"/>
                  </a:lnTo>
                  <a:lnTo>
                    <a:pt x="2045" y="455"/>
                  </a:lnTo>
                  <a:lnTo>
                    <a:pt x="2047" y="459"/>
                  </a:lnTo>
                  <a:lnTo>
                    <a:pt x="2047" y="466"/>
                  </a:lnTo>
                  <a:lnTo>
                    <a:pt x="2047" y="466"/>
                  </a:lnTo>
                  <a:lnTo>
                    <a:pt x="2040" y="466"/>
                  </a:lnTo>
                  <a:lnTo>
                    <a:pt x="2035" y="466"/>
                  </a:lnTo>
                  <a:lnTo>
                    <a:pt x="2035" y="466"/>
                  </a:lnTo>
                  <a:lnTo>
                    <a:pt x="2035" y="452"/>
                  </a:lnTo>
                  <a:lnTo>
                    <a:pt x="2035" y="452"/>
                  </a:lnTo>
                  <a:lnTo>
                    <a:pt x="2028" y="452"/>
                  </a:lnTo>
                  <a:lnTo>
                    <a:pt x="2021" y="452"/>
                  </a:lnTo>
                  <a:lnTo>
                    <a:pt x="2021" y="452"/>
                  </a:lnTo>
                  <a:lnTo>
                    <a:pt x="2009" y="452"/>
                  </a:lnTo>
                  <a:lnTo>
                    <a:pt x="2009" y="452"/>
                  </a:lnTo>
                  <a:lnTo>
                    <a:pt x="2005" y="452"/>
                  </a:lnTo>
                  <a:lnTo>
                    <a:pt x="2000" y="452"/>
                  </a:lnTo>
                  <a:lnTo>
                    <a:pt x="1998" y="452"/>
                  </a:lnTo>
                  <a:lnTo>
                    <a:pt x="1998" y="452"/>
                  </a:lnTo>
                  <a:lnTo>
                    <a:pt x="1998" y="459"/>
                  </a:lnTo>
                  <a:lnTo>
                    <a:pt x="1998" y="466"/>
                  </a:lnTo>
                  <a:lnTo>
                    <a:pt x="1998" y="466"/>
                  </a:lnTo>
                  <a:lnTo>
                    <a:pt x="1993" y="466"/>
                  </a:lnTo>
                  <a:lnTo>
                    <a:pt x="1986" y="466"/>
                  </a:lnTo>
                  <a:lnTo>
                    <a:pt x="1986" y="466"/>
                  </a:lnTo>
                  <a:lnTo>
                    <a:pt x="1962" y="466"/>
                  </a:lnTo>
                  <a:lnTo>
                    <a:pt x="1962" y="466"/>
                  </a:lnTo>
                  <a:lnTo>
                    <a:pt x="1951" y="466"/>
                  </a:lnTo>
                  <a:lnTo>
                    <a:pt x="1951" y="466"/>
                  </a:lnTo>
                  <a:lnTo>
                    <a:pt x="1939" y="466"/>
                  </a:lnTo>
                  <a:lnTo>
                    <a:pt x="1939" y="466"/>
                  </a:lnTo>
                  <a:lnTo>
                    <a:pt x="1932" y="466"/>
                  </a:lnTo>
                  <a:lnTo>
                    <a:pt x="1927" y="466"/>
                  </a:lnTo>
                  <a:lnTo>
                    <a:pt x="1927" y="466"/>
                  </a:lnTo>
                  <a:lnTo>
                    <a:pt x="1927" y="464"/>
                  </a:lnTo>
                  <a:lnTo>
                    <a:pt x="1927" y="459"/>
                  </a:lnTo>
                  <a:lnTo>
                    <a:pt x="1927" y="452"/>
                  </a:lnTo>
                  <a:lnTo>
                    <a:pt x="1927" y="452"/>
                  </a:lnTo>
                  <a:lnTo>
                    <a:pt x="1903" y="452"/>
                  </a:lnTo>
                  <a:lnTo>
                    <a:pt x="1903" y="452"/>
                  </a:lnTo>
                  <a:lnTo>
                    <a:pt x="1903" y="459"/>
                  </a:lnTo>
                  <a:lnTo>
                    <a:pt x="1903" y="464"/>
                  </a:lnTo>
                  <a:lnTo>
                    <a:pt x="1903" y="466"/>
                  </a:lnTo>
                  <a:lnTo>
                    <a:pt x="1903" y="466"/>
                  </a:lnTo>
                  <a:lnTo>
                    <a:pt x="1901" y="466"/>
                  </a:lnTo>
                  <a:lnTo>
                    <a:pt x="1896" y="466"/>
                  </a:lnTo>
                  <a:lnTo>
                    <a:pt x="1894" y="464"/>
                  </a:lnTo>
                  <a:lnTo>
                    <a:pt x="1892" y="466"/>
                  </a:lnTo>
                  <a:lnTo>
                    <a:pt x="1892" y="466"/>
                  </a:lnTo>
                  <a:lnTo>
                    <a:pt x="1892" y="469"/>
                  </a:lnTo>
                  <a:lnTo>
                    <a:pt x="1892" y="471"/>
                  </a:lnTo>
                  <a:lnTo>
                    <a:pt x="1892" y="478"/>
                  </a:lnTo>
                  <a:lnTo>
                    <a:pt x="1892" y="478"/>
                  </a:lnTo>
                  <a:lnTo>
                    <a:pt x="1880" y="478"/>
                  </a:lnTo>
                  <a:lnTo>
                    <a:pt x="1880" y="478"/>
                  </a:lnTo>
                  <a:lnTo>
                    <a:pt x="1868" y="478"/>
                  </a:lnTo>
                  <a:lnTo>
                    <a:pt x="1868" y="478"/>
                  </a:lnTo>
                  <a:lnTo>
                    <a:pt x="1844" y="478"/>
                  </a:lnTo>
                  <a:lnTo>
                    <a:pt x="1844" y="478"/>
                  </a:lnTo>
                  <a:lnTo>
                    <a:pt x="1844" y="466"/>
                  </a:lnTo>
                  <a:lnTo>
                    <a:pt x="1844" y="466"/>
                  </a:lnTo>
                  <a:lnTo>
                    <a:pt x="1844" y="452"/>
                  </a:lnTo>
                  <a:lnTo>
                    <a:pt x="1844" y="452"/>
                  </a:lnTo>
                  <a:lnTo>
                    <a:pt x="1844" y="440"/>
                  </a:lnTo>
                  <a:lnTo>
                    <a:pt x="1844" y="440"/>
                  </a:lnTo>
                  <a:lnTo>
                    <a:pt x="1844" y="436"/>
                  </a:lnTo>
                  <a:lnTo>
                    <a:pt x="1844" y="429"/>
                  </a:lnTo>
                  <a:lnTo>
                    <a:pt x="1844" y="429"/>
                  </a:lnTo>
                  <a:lnTo>
                    <a:pt x="1842" y="429"/>
                  </a:lnTo>
                  <a:lnTo>
                    <a:pt x="1837" y="429"/>
                  </a:lnTo>
                  <a:lnTo>
                    <a:pt x="1833" y="429"/>
                  </a:lnTo>
                  <a:lnTo>
                    <a:pt x="1833" y="429"/>
                  </a:lnTo>
                  <a:lnTo>
                    <a:pt x="1833" y="405"/>
                  </a:lnTo>
                  <a:lnTo>
                    <a:pt x="1833" y="405"/>
                  </a:lnTo>
                  <a:lnTo>
                    <a:pt x="1821" y="405"/>
                  </a:lnTo>
                  <a:lnTo>
                    <a:pt x="1821" y="405"/>
                  </a:lnTo>
                  <a:lnTo>
                    <a:pt x="1797" y="405"/>
                  </a:lnTo>
                  <a:lnTo>
                    <a:pt x="1797" y="405"/>
                  </a:lnTo>
                  <a:lnTo>
                    <a:pt x="1797" y="393"/>
                  </a:lnTo>
                  <a:lnTo>
                    <a:pt x="1797" y="393"/>
                  </a:lnTo>
                  <a:lnTo>
                    <a:pt x="1797" y="346"/>
                  </a:lnTo>
                  <a:lnTo>
                    <a:pt x="1797" y="346"/>
                  </a:lnTo>
                  <a:lnTo>
                    <a:pt x="1797" y="252"/>
                  </a:lnTo>
                  <a:lnTo>
                    <a:pt x="1797" y="252"/>
                  </a:lnTo>
                  <a:lnTo>
                    <a:pt x="1797" y="240"/>
                  </a:lnTo>
                  <a:lnTo>
                    <a:pt x="1797" y="240"/>
                  </a:lnTo>
                  <a:lnTo>
                    <a:pt x="1797" y="228"/>
                  </a:lnTo>
                  <a:lnTo>
                    <a:pt x="1797" y="228"/>
                  </a:lnTo>
                  <a:lnTo>
                    <a:pt x="1797" y="217"/>
                  </a:lnTo>
                  <a:lnTo>
                    <a:pt x="1797" y="217"/>
                  </a:lnTo>
                  <a:lnTo>
                    <a:pt x="1795" y="209"/>
                  </a:lnTo>
                  <a:lnTo>
                    <a:pt x="1797" y="202"/>
                  </a:lnTo>
                  <a:lnTo>
                    <a:pt x="1797" y="202"/>
                  </a:lnTo>
                  <a:lnTo>
                    <a:pt x="1800" y="202"/>
                  </a:lnTo>
                  <a:lnTo>
                    <a:pt x="1802" y="202"/>
                  </a:lnTo>
                  <a:lnTo>
                    <a:pt x="1809" y="202"/>
                  </a:lnTo>
                  <a:lnTo>
                    <a:pt x="1809" y="202"/>
                  </a:lnTo>
                  <a:lnTo>
                    <a:pt x="1809" y="179"/>
                  </a:lnTo>
                  <a:lnTo>
                    <a:pt x="1809" y="179"/>
                  </a:lnTo>
                  <a:lnTo>
                    <a:pt x="1783" y="179"/>
                  </a:lnTo>
                  <a:lnTo>
                    <a:pt x="1783" y="179"/>
                  </a:lnTo>
                  <a:lnTo>
                    <a:pt x="1771" y="179"/>
                  </a:lnTo>
                  <a:lnTo>
                    <a:pt x="1771" y="179"/>
                  </a:lnTo>
                  <a:lnTo>
                    <a:pt x="1748" y="179"/>
                  </a:lnTo>
                  <a:lnTo>
                    <a:pt x="1748" y="179"/>
                  </a:lnTo>
                  <a:lnTo>
                    <a:pt x="1748" y="167"/>
                  </a:lnTo>
                  <a:lnTo>
                    <a:pt x="1748" y="167"/>
                  </a:lnTo>
                  <a:lnTo>
                    <a:pt x="1750" y="162"/>
                  </a:lnTo>
                  <a:lnTo>
                    <a:pt x="1748" y="155"/>
                  </a:lnTo>
                  <a:lnTo>
                    <a:pt x="1748" y="155"/>
                  </a:lnTo>
                  <a:lnTo>
                    <a:pt x="1743" y="155"/>
                  </a:lnTo>
                  <a:lnTo>
                    <a:pt x="1736" y="155"/>
                  </a:lnTo>
                  <a:lnTo>
                    <a:pt x="1736" y="155"/>
                  </a:lnTo>
                  <a:lnTo>
                    <a:pt x="1724" y="155"/>
                  </a:lnTo>
                  <a:lnTo>
                    <a:pt x="1724" y="155"/>
                  </a:lnTo>
                  <a:lnTo>
                    <a:pt x="1701" y="155"/>
                  </a:lnTo>
                  <a:lnTo>
                    <a:pt x="1701" y="155"/>
                  </a:lnTo>
                  <a:lnTo>
                    <a:pt x="1654" y="155"/>
                  </a:lnTo>
                  <a:lnTo>
                    <a:pt x="1654" y="155"/>
                  </a:lnTo>
                  <a:lnTo>
                    <a:pt x="1642" y="155"/>
                  </a:lnTo>
                  <a:lnTo>
                    <a:pt x="1642" y="155"/>
                  </a:lnTo>
                  <a:lnTo>
                    <a:pt x="1635" y="155"/>
                  </a:lnTo>
                  <a:lnTo>
                    <a:pt x="1630" y="155"/>
                  </a:lnTo>
                  <a:lnTo>
                    <a:pt x="1630" y="155"/>
                  </a:lnTo>
                  <a:lnTo>
                    <a:pt x="1630" y="158"/>
                  </a:lnTo>
                  <a:lnTo>
                    <a:pt x="1630" y="162"/>
                  </a:lnTo>
                  <a:lnTo>
                    <a:pt x="1630" y="167"/>
                  </a:lnTo>
                  <a:lnTo>
                    <a:pt x="1630" y="167"/>
                  </a:lnTo>
                  <a:lnTo>
                    <a:pt x="1607" y="167"/>
                  </a:lnTo>
                  <a:lnTo>
                    <a:pt x="1607" y="167"/>
                  </a:lnTo>
                  <a:lnTo>
                    <a:pt x="1607" y="179"/>
                  </a:lnTo>
                  <a:lnTo>
                    <a:pt x="1607" y="179"/>
                  </a:lnTo>
                  <a:lnTo>
                    <a:pt x="1607" y="186"/>
                  </a:lnTo>
                  <a:lnTo>
                    <a:pt x="1607" y="191"/>
                  </a:lnTo>
                  <a:lnTo>
                    <a:pt x="1607" y="191"/>
                  </a:lnTo>
                  <a:lnTo>
                    <a:pt x="1611" y="191"/>
                  </a:lnTo>
                  <a:lnTo>
                    <a:pt x="1618" y="191"/>
                  </a:lnTo>
                  <a:lnTo>
                    <a:pt x="1618" y="191"/>
                  </a:lnTo>
                  <a:lnTo>
                    <a:pt x="1618" y="202"/>
                  </a:lnTo>
                  <a:lnTo>
                    <a:pt x="1618" y="202"/>
                  </a:lnTo>
                  <a:lnTo>
                    <a:pt x="1618" y="228"/>
                  </a:lnTo>
                  <a:lnTo>
                    <a:pt x="1618" y="228"/>
                  </a:lnTo>
                  <a:lnTo>
                    <a:pt x="1611" y="228"/>
                  </a:lnTo>
                  <a:lnTo>
                    <a:pt x="1607" y="228"/>
                  </a:lnTo>
                  <a:lnTo>
                    <a:pt x="1607" y="228"/>
                  </a:lnTo>
                  <a:lnTo>
                    <a:pt x="1599" y="226"/>
                  </a:lnTo>
                  <a:lnTo>
                    <a:pt x="1595" y="228"/>
                  </a:lnTo>
                  <a:lnTo>
                    <a:pt x="1595" y="228"/>
                  </a:lnTo>
                  <a:lnTo>
                    <a:pt x="1588" y="228"/>
                  </a:lnTo>
                  <a:lnTo>
                    <a:pt x="1583" y="228"/>
                  </a:lnTo>
                  <a:lnTo>
                    <a:pt x="1583" y="228"/>
                  </a:lnTo>
                  <a:lnTo>
                    <a:pt x="1583" y="221"/>
                  </a:lnTo>
                  <a:lnTo>
                    <a:pt x="1583" y="217"/>
                  </a:lnTo>
                  <a:lnTo>
                    <a:pt x="1583" y="217"/>
                  </a:lnTo>
                  <a:lnTo>
                    <a:pt x="1583" y="217"/>
                  </a:lnTo>
                  <a:lnTo>
                    <a:pt x="1581" y="214"/>
                  </a:lnTo>
                  <a:lnTo>
                    <a:pt x="1583" y="209"/>
                  </a:lnTo>
                  <a:lnTo>
                    <a:pt x="1583" y="202"/>
                  </a:lnTo>
                  <a:lnTo>
                    <a:pt x="1583" y="202"/>
                  </a:lnTo>
                  <a:lnTo>
                    <a:pt x="1576" y="202"/>
                  </a:lnTo>
                  <a:lnTo>
                    <a:pt x="1571" y="202"/>
                  </a:lnTo>
                  <a:lnTo>
                    <a:pt x="1571" y="202"/>
                  </a:lnTo>
                  <a:lnTo>
                    <a:pt x="1559" y="202"/>
                  </a:lnTo>
                  <a:lnTo>
                    <a:pt x="1559" y="202"/>
                  </a:lnTo>
                  <a:lnTo>
                    <a:pt x="1548" y="202"/>
                  </a:lnTo>
                  <a:lnTo>
                    <a:pt x="1548" y="202"/>
                  </a:lnTo>
                  <a:lnTo>
                    <a:pt x="1522" y="202"/>
                  </a:lnTo>
                  <a:lnTo>
                    <a:pt x="1522" y="202"/>
                  </a:lnTo>
                  <a:lnTo>
                    <a:pt x="1510" y="202"/>
                  </a:lnTo>
                  <a:lnTo>
                    <a:pt x="1510" y="202"/>
                  </a:lnTo>
                  <a:lnTo>
                    <a:pt x="1505" y="202"/>
                  </a:lnTo>
                  <a:lnTo>
                    <a:pt x="1498" y="202"/>
                  </a:lnTo>
                  <a:lnTo>
                    <a:pt x="1498" y="202"/>
                  </a:lnTo>
                  <a:lnTo>
                    <a:pt x="1498" y="209"/>
                  </a:lnTo>
                  <a:lnTo>
                    <a:pt x="1498" y="217"/>
                  </a:lnTo>
                  <a:lnTo>
                    <a:pt x="1498" y="217"/>
                  </a:lnTo>
                  <a:lnTo>
                    <a:pt x="1493" y="217"/>
                  </a:lnTo>
                  <a:lnTo>
                    <a:pt x="1486" y="217"/>
                  </a:lnTo>
                  <a:lnTo>
                    <a:pt x="1486" y="217"/>
                  </a:lnTo>
                  <a:lnTo>
                    <a:pt x="1475" y="217"/>
                  </a:lnTo>
                  <a:lnTo>
                    <a:pt x="1475" y="217"/>
                  </a:lnTo>
                  <a:lnTo>
                    <a:pt x="1451" y="217"/>
                  </a:lnTo>
                  <a:lnTo>
                    <a:pt x="1451" y="217"/>
                  </a:lnTo>
                  <a:lnTo>
                    <a:pt x="1451" y="228"/>
                  </a:lnTo>
                  <a:lnTo>
                    <a:pt x="1451" y="228"/>
                  </a:lnTo>
                  <a:lnTo>
                    <a:pt x="1451" y="252"/>
                  </a:lnTo>
                  <a:lnTo>
                    <a:pt x="1451" y="252"/>
                  </a:lnTo>
                  <a:lnTo>
                    <a:pt x="1451" y="275"/>
                  </a:lnTo>
                  <a:lnTo>
                    <a:pt x="1451" y="275"/>
                  </a:lnTo>
                  <a:lnTo>
                    <a:pt x="1451" y="287"/>
                  </a:lnTo>
                  <a:lnTo>
                    <a:pt x="1451" y="287"/>
                  </a:lnTo>
                  <a:lnTo>
                    <a:pt x="1451" y="311"/>
                  </a:lnTo>
                  <a:lnTo>
                    <a:pt x="1451" y="311"/>
                  </a:lnTo>
                  <a:lnTo>
                    <a:pt x="1451" y="323"/>
                  </a:lnTo>
                  <a:lnTo>
                    <a:pt x="1451" y="323"/>
                  </a:lnTo>
                  <a:lnTo>
                    <a:pt x="1451" y="334"/>
                  </a:lnTo>
                  <a:lnTo>
                    <a:pt x="1451" y="334"/>
                  </a:lnTo>
                  <a:lnTo>
                    <a:pt x="1451" y="341"/>
                  </a:lnTo>
                  <a:lnTo>
                    <a:pt x="1451" y="346"/>
                  </a:lnTo>
                  <a:lnTo>
                    <a:pt x="1451" y="346"/>
                  </a:lnTo>
                  <a:lnTo>
                    <a:pt x="1449" y="346"/>
                  </a:lnTo>
                  <a:lnTo>
                    <a:pt x="1446" y="346"/>
                  </a:lnTo>
                  <a:lnTo>
                    <a:pt x="1439" y="346"/>
                  </a:lnTo>
                  <a:lnTo>
                    <a:pt x="1439" y="346"/>
                  </a:lnTo>
                  <a:lnTo>
                    <a:pt x="1439" y="353"/>
                  </a:lnTo>
                  <a:lnTo>
                    <a:pt x="1439" y="356"/>
                  </a:lnTo>
                  <a:lnTo>
                    <a:pt x="1439" y="358"/>
                  </a:lnTo>
                  <a:lnTo>
                    <a:pt x="1439" y="358"/>
                  </a:lnTo>
                  <a:lnTo>
                    <a:pt x="1435" y="358"/>
                  </a:lnTo>
                  <a:lnTo>
                    <a:pt x="1427" y="358"/>
                  </a:lnTo>
                  <a:lnTo>
                    <a:pt x="1427" y="358"/>
                  </a:lnTo>
                  <a:lnTo>
                    <a:pt x="1420" y="358"/>
                  </a:lnTo>
                  <a:lnTo>
                    <a:pt x="1416" y="358"/>
                  </a:lnTo>
                  <a:lnTo>
                    <a:pt x="1416" y="358"/>
                  </a:lnTo>
                  <a:lnTo>
                    <a:pt x="1416" y="353"/>
                  </a:lnTo>
                  <a:lnTo>
                    <a:pt x="1416" y="346"/>
                  </a:lnTo>
                  <a:lnTo>
                    <a:pt x="1416" y="346"/>
                  </a:lnTo>
                  <a:lnTo>
                    <a:pt x="1416" y="334"/>
                  </a:lnTo>
                  <a:lnTo>
                    <a:pt x="1416" y="334"/>
                  </a:lnTo>
                  <a:lnTo>
                    <a:pt x="1416" y="323"/>
                  </a:lnTo>
                  <a:lnTo>
                    <a:pt x="1416" y="323"/>
                  </a:lnTo>
                  <a:lnTo>
                    <a:pt x="1392" y="323"/>
                  </a:lnTo>
                  <a:lnTo>
                    <a:pt x="1392" y="323"/>
                  </a:lnTo>
                  <a:lnTo>
                    <a:pt x="1380" y="323"/>
                  </a:lnTo>
                  <a:lnTo>
                    <a:pt x="1380" y="323"/>
                  </a:lnTo>
                  <a:lnTo>
                    <a:pt x="1357" y="323"/>
                  </a:lnTo>
                  <a:lnTo>
                    <a:pt x="1357" y="323"/>
                  </a:lnTo>
                  <a:lnTo>
                    <a:pt x="1357" y="311"/>
                  </a:lnTo>
                  <a:lnTo>
                    <a:pt x="1357" y="311"/>
                  </a:lnTo>
                  <a:lnTo>
                    <a:pt x="1357" y="299"/>
                  </a:lnTo>
                  <a:lnTo>
                    <a:pt x="1357" y="299"/>
                  </a:lnTo>
                  <a:lnTo>
                    <a:pt x="1357" y="275"/>
                  </a:lnTo>
                  <a:lnTo>
                    <a:pt x="1357" y="275"/>
                  </a:lnTo>
                  <a:lnTo>
                    <a:pt x="1357" y="264"/>
                  </a:lnTo>
                  <a:lnTo>
                    <a:pt x="1357" y="264"/>
                  </a:lnTo>
                  <a:lnTo>
                    <a:pt x="1357" y="240"/>
                  </a:lnTo>
                  <a:lnTo>
                    <a:pt x="1357" y="240"/>
                  </a:lnTo>
                  <a:lnTo>
                    <a:pt x="1357" y="228"/>
                  </a:lnTo>
                  <a:lnTo>
                    <a:pt x="1357" y="228"/>
                  </a:lnTo>
                  <a:lnTo>
                    <a:pt x="1357" y="202"/>
                  </a:lnTo>
                  <a:lnTo>
                    <a:pt x="1357" y="202"/>
                  </a:lnTo>
                  <a:lnTo>
                    <a:pt x="1357" y="191"/>
                  </a:lnTo>
                  <a:lnTo>
                    <a:pt x="1357" y="191"/>
                  </a:lnTo>
                  <a:lnTo>
                    <a:pt x="1357" y="167"/>
                  </a:lnTo>
                  <a:lnTo>
                    <a:pt x="1357" y="167"/>
                  </a:lnTo>
                  <a:lnTo>
                    <a:pt x="1357" y="144"/>
                  </a:lnTo>
                  <a:lnTo>
                    <a:pt x="1357" y="144"/>
                  </a:lnTo>
                  <a:lnTo>
                    <a:pt x="1357" y="132"/>
                  </a:lnTo>
                  <a:lnTo>
                    <a:pt x="1357" y="132"/>
                  </a:lnTo>
                  <a:lnTo>
                    <a:pt x="1357" y="108"/>
                  </a:lnTo>
                  <a:lnTo>
                    <a:pt x="1357" y="108"/>
                  </a:lnTo>
                  <a:lnTo>
                    <a:pt x="1357" y="85"/>
                  </a:lnTo>
                  <a:lnTo>
                    <a:pt x="1357" y="85"/>
                  </a:lnTo>
                  <a:lnTo>
                    <a:pt x="1345" y="85"/>
                  </a:lnTo>
                  <a:lnTo>
                    <a:pt x="1345" y="85"/>
                  </a:lnTo>
                  <a:lnTo>
                    <a:pt x="1321" y="85"/>
                  </a:lnTo>
                  <a:lnTo>
                    <a:pt x="1321" y="85"/>
                  </a:lnTo>
                  <a:lnTo>
                    <a:pt x="1321" y="78"/>
                  </a:lnTo>
                  <a:lnTo>
                    <a:pt x="1321" y="75"/>
                  </a:lnTo>
                  <a:lnTo>
                    <a:pt x="1321" y="73"/>
                  </a:lnTo>
                  <a:lnTo>
                    <a:pt x="1321" y="73"/>
                  </a:lnTo>
                  <a:lnTo>
                    <a:pt x="1314" y="73"/>
                  </a:lnTo>
                  <a:lnTo>
                    <a:pt x="1310" y="73"/>
                  </a:lnTo>
                  <a:lnTo>
                    <a:pt x="1310" y="73"/>
                  </a:lnTo>
                  <a:lnTo>
                    <a:pt x="1303" y="73"/>
                  </a:lnTo>
                  <a:lnTo>
                    <a:pt x="1298" y="73"/>
                  </a:lnTo>
                  <a:lnTo>
                    <a:pt x="1298" y="73"/>
                  </a:lnTo>
                  <a:lnTo>
                    <a:pt x="1296" y="68"/>
                  </a:lnTo>
                  <a:lnTo>
                    <a:pt x="1298" y="61"/>
                  </a:lnTo>
                  <a:lnTo>
                    <a:pt x="1298" y="61"/>
                  </a:lnTo>
                  <a:lnTo>
                    <a:pt x="1284" y="61"/>
                  </a:lnTo>
                  <a:lnTo>
                    <a:pt x="1284" y="61"/>
                  </a:lnTo>
                  <a:lnTo>
                    <a:pt x="1272" y="61"/>
                  </a:lnTo>
                  <a:lnTo>
                    <a:pt x="1272" y="61"/>
                  </a:lnTo>
                  <a:lnTo>
                    <a:pt x="1260" y="61"/>
                  </a:lnTo>
                  <a:lnTo>
                    <a:pt x="1260" y="61"/>
                  </a:lnTo>
                  <a:lnTo>
                    <a:pt x="1248" y="61"/>
                  </a:lnTo>
                  <a:lnTo>
                    <a:pt x="1248" y="61"/>
                  </a:lnTo>
                  <a:lnTo>
                    <a:pt x="1244" y="61"/>
                  </a:lnTo>
                  <a:lnTo>
                    <a:pt x="1237" y="61"/>
                  </a:lnTo>
                  <a:lnTo>
                    <a:pt x="1237" y="61"/>
                  </a:lnTo>
                  <a:lnTo>
                    <a:pt x="1232" y="61"/>
                  </a:lnTo>
                  <a:lnTo>
                    <a:pt x="1225" y="61"/>
                  </a:lnTo>
                  <a:lnTo>
                    <a:pt x="1225" y="61"/>
                  </a:lnTo>
                  <a:lnTo>
                    <a:pt x="1225" y="63"/>
                  </a:lnTo>
                  <a:lnTo>
                    <a:pt x="1225" y="66"/>
                  </a:lnTo>
                  <a:lnTo>
                    <a:pt x="1225" y="70"/>
                  </a:lnTo>
                  <a:lnTo>
                    <a:pt x="1225" y="73"/>
                  </a:lnTo>
                  <a:lnTo>
                    <a:pt x="1225" y="73"/>
                  </a:lnTo>
                  <a:lnTo>
                    <a:pt x="1222" y="73"/>
                  </a:lnTo>
                  <a:lnTo>
                    <a:pt x="1220" y="73"/>
                  </a:lnTo>
                  <a:lnTo>
                    <a:pt x="1213" y="73"/>
                  </a:lnTo>
                  <a:lnTo>
                    <a:pt x="1213" y="73"/>
                  </a:lnTo>
                  <a:lnTo>
                    <a:pt x="1213" y="75"/>
                  </a:lnTo>
                  <a:lnTo>
                    <a:pt x="1213" y="78"/>
                  </a:lnTo>
                  <a:lnTo>
                    <a:pt x="1213" y="85"/>
                  </a:lnTo>
                  <a:lnTo>
                    <a:pt x="1213" y="85"/>
                  </a:lnTo>
                  <a:lnTo>
                    <a:pt x="1211" y="85"/>
                  </a:lnTo>
                  <a:lnTo>
                    <a:pt x="1208" y="85"/>
                  </a:lnTo>
                  <a:lnTo>
                    <a:pt x="1204" y="85"/>
                  </a:lnTo>
                  <a:lnTo>
                    <a:pt x="1201" y="85"/>
                  </a:lnTo>
                  <a:lnTo>
                    <a:pt x="1201" y="85"/>
                  </a:lnTo>
                  <a:lnTo>
                    <a:pt x="1201" y="87"/>
                  </a:lnTo>
                  <a:lnTo>
                    <a:pt x="1201" y="89"/>
                  </a:lnTo>
                  <a:lnTo>
                    <a:pt x="1201" y="96"/>
                  </a:lnTo>
                  <a:lnTo>
                    <a:pt x="1201" y="96"/>
                  </a:lnTo>
                  <a:lnTo>
                    <a:pt x="1199" y="96"/>
                  </a:lnTo>
                  <a:lnTo>
                    <a:pt x="1197" y="96"/>
                  </a:lnTo>
                  <a:lnTo>
                    <a:pt x="1189" y="96"/>
                  </a:lnTo>
                  <a:lnTo>
                    <a:pt x="1189" y="96"/>
                  </a:lnTo>
                  <a:lnTo>
                    <a:pt x="1189" y="99"/>
                  </a:lnTo>
                  <a:lnTo>
                    <a:pt x="1189" y="103"/>
                  </a:lnTo>
                  <a:lnTo>
                    <a:pt x="1189" y="106"/>
                  </a:lnTo>
                  <a:lnTo>
                    <a:pt x="1189" y="108"/>
                  </a:lnTo>
                  <a:lnTo>
                    <a:pt x="1189" y="108"/>
                  </a:lnTo>
                  <a:lnTo>
                    <a:pt x="1187" y="108"/>
                  </a:lnTo>
                  <a:lnTo>
                    <a:pt x="1185" y="108"/>
                  </a:lnTo>
                  <a:lnTo>
                    <a:pt x="1178" y="108"/>
                  </a:lnTo>
                  <a:lnTo>
                    <a:pt x="1178" y="108"/>
                  </a:lnTo>
                  <a:lnTo>
                    <a:pt x="1178" y="111"/>
                  </a:lnTo>
                  <a:lnTo>
                    <a:pt x="1178" y="115"/>
                  </a:lnTo>
                  <a:lnTo>
                    <a:pt x="1178" y="120"/>
                  </a:lnTo>
                  <a:lnTo>
                    <a:pt x="1178" y="120"/>
                  </a:lnTo>
                  <a:lnTo>
                    <a:pt x="1175" y="120"/>
                  </a:lnTo>
                  <a:lnTo>
                    <a:pt x="1173" y="120"/>
                  </a:lnTo>
                  <a:lnTo>
                    <a:pt x="1166" y="120"/>
                  </a:lnTo>
                  <a:lnTo>
                    <a:pt x="1166" y="120"/>
                  </a:lnTo>
                  <a:lnTo>
                    <a:pt x="1166" y="132"/>
                  </a:lnTo>
                  <a:lnTo>
                    <a:pt x="1166" y="132"/>
                  </a:lnTo>
                  <a:lnTo>
                    <a:pt x="1166" y="155"/>
                  </a:lnTo>
                  <a:lnTo>
                    <a:pt x="1166" y="155"/>
                  </a:lnTo>
                  <a:lnTo>
                    <a:pt x="1166" y="167"/>
                  </a:lnTo>
                  <a:lnTo>
                    <a:pt x="1166" y="167"/>
                  </a:lnTo>
                  <a:lnTo>
                    <a:pt x="1166" y="191"/>
                  </a:lnTo>
                  <a:lnTo>
                    <a:pt x="1166" y="191"/>
                  </a:lnTo>
                  <a:lnTo>
                    <a:pt x="1166" y="202"/>
                  </a:lnTo>
                  <a:lnTo>
                    <a:pt x="1166" y="202"/>
                  </a:lnTo>
                  <a:lnTo>
                    <a:pt x="1166" y="228"/>
                  </a:lnTo>
                  <a:lnTo>
                    <a:pt x="1166" y="228"/>
                  </a:lnTo>
                  <a:lnTo>
                    <a:pt x="1166" y="240"/>
                  </a:lnTo>
                  <a:lnTo>
                    <a:pt x="1166" y="240"/>
                  </a:lnTo>
                  <a:lnTo>
                    <a:pt x="1166" y="264"/>
                  </a:lnTo>
                  <a:lnTo>
                    <a:pt x="1166" y="264"/>
                  </a:lnTo>
                  <a:lnTo>
                    <a:pt x="1166" y="275"/>
                  </a:lnTo>
                  <a:lnTo>
                    <a:pt x="1166" y="275"/>
                  </a:lnTo>
                  <a:lnTo>
                    <a:pt x="1166" y="299"/>
                  </a:lnTo>
                  <a:lnTo>
                    <a:pt x="1166" y="299"/>
                  </a:lnTo>
                  <a:lnTo>
                    <a:pt x="1159" y="299"/>
                  </a:lnTo>
                  <a:lnTo>
                    <a:pt x="1154" y="299"/>
                  </a:lnTo>
                  <a:lnTo>
                    <a:pt x="1154" y="299"/>
                  </a:lnTo>
                  <a:lnTo>
                    <a:pt x="1147" y="299"/>
                  </a:lnTo>
                  <a:lnTo>
                    <a:pt x="1142" y="299"/>
                  </a:lnTo>
                  <a:lnTo>
                    <a:pt x="1142" y="299"/>
                  </a:lnTo>
                  <a:lnTo>
                    <a:pt x="1142" y="297"/>
                  </a:lnTo>
                  <a:lnTo>
                    <a:pt x="1142" y="292"/>
                  </a:lnTo>
                  <a:lnTo>
                    <a:pt x="1142" y="287"/>
                  </a:lnTo>
                  <a:lnTo>
                    <a:pt x="1142" y="287"/>
                  </a:lnTo>
                  <a:lnTo>
                    <a:pt x="1135" y="287"/>
                  </a:lnTo>
                  <a:lnTo>
                    <a:pt x="1131" y="287"/>
                  </a:lnTo>
                  <a:lnTo>
                    <a:pt x="1131" y="287"/>
                  </a:lnTo>
                  <a:lnTo>
                    <a:pt x="1119" y="287"/>
                  </a:lnTo>
                  <a:lnTo>
                    <a:pt x="1119" y="287"/>
                  </a:lnTo>
                  <a:lnTo>
                    <a:pt x="1107" y="287"/>
                  </a:lnTo>
                  <a:lnTo>
                    <a:pt x="1107" y="287"/>
                  </a:lnTo>
                  <a:lnTo>
                    <a:pt x="1083" y="287"/>
                  </a:lnTo>
                  <a:lnTo>
                    <a:pt x="1083" y="287"/>
                  </a:lnTo>
                  <a:lnTo>
                    <a:pt x="1060" y="287"/>
                  </a:lnTo>
                  <a:lnTo>
                    <a:pt x="1060" y="287"/>
                  </a:lnTo>
                  <a:lnTo>
                    <a:pt x="1053" y="287"/>
                  </a:lnTo>
                  <a:lnTo>
                    <a:pt x="1048" y="287"/>
                  </a:lnTo>
                  <a:lnTo>
                    <a:pt x="1046" y="287"/>
                  </a:lnTo>
                  <a:lnTo>
                    <a:pt x="1046" y="287"/>
                  </a:lnTo>
                  <a:lnTo>
                    <a:pt x="1046" y="290"/>
                  </a:lnTo>
                  <a:lnTo>
                    <a:pt x="1046" y="292"/>
                  </a:lnTo>
                  <a:lnTo>
                    <a:pt x="1046" y="299"/>
                  </a:lnTo>
                  <a:lnTo>
                    <a:pt x="1046" y="299"/>
                  </a:lnTo>
                  <a:lnTo>
                    <a:pt x="1048" y="304"/>
                  </a:lnTo>
                  <a:lnTo>
                    <a:pt x="1048" y="308"/>
                  </a:lnTo>
                  <a:lnTo>
                    <a:pt x="1046" y="311"/>
                  </a:lnTo>
                  <a:lnTo>
                    <a:pt x="1046" y="311"/>
                  </a:lnTo>
                  <a:lnTo>
                    <a:pt x="1043" y="311"/>
                  </a:lnTo>
                  <a:lnTo>
                    <a:pt x="1041" y="311"/>
                  </a:lnTo>
                  <a:lnTo>
                    <a:pt x="1034" y="311"/>
                  </a:lnTo>
                  <a:lnTo>
                    <a:pt x="1034" y="311"/>
                  </a:lnTo>
                  <a:lnTo>
                    <a:pt x="1029" y="311"/>
                  </a:lnTo>
                  <a:lnTo>
                    <a:pt x="1022" y="311"/>
                  </a:lnTo>
                  <a:lnTo>
                    <a:pt x="1022" y="311"/>
                  </a:lnTo>
                  <a:lnTo>
                    <a:pt x="1017" y="311"/>
                  </a:lnTo>
                  <a:lnTo>
                    <a:pt x="1010" y="311"/>
                  </a:lnTo>
                  <a:lnTo>
                    <a:pt x="1010" y="311"/>
                  </a:lnTo>
                  <a:lnTo>
                    <a:pt x="1010" y="316"/>
                  </a:lnTo>
                  <a:lnTo>
                    <a:pt x="1010" y="323"/>
                  </a:lnTo>
                  <a:lnTo>
                    <a:pt x="1010" y="323"/>
                  </a:lnTo>
                  <a:lnTo>
                    <a:pt x="1008" y="323"/>
                  </a:lnTo>
                  <a:lnTo>
                    <a:pt x="1006" y="323"/>
                  </a:lnTo>
                  <a:lnTo>
                    <a:pt x="999" y="323"/>
                  </a:lnTo>
                  <a:lnTo>
                    <a:pt x="999" y="323"/>
                  </a:lnTo>
                  <a:lnTo>
                    <a:pt x="975" y="323"/>
                  </a:lnTo>
                  <a:lnTo>
                    <a:pt x="975" y="323"/>
                  </a:lnTo>
                  <a:lnTo>
                    <a:pt x="975" y="275"/>
                  </a:lnTo>
                  <a:lnTo>
                    <a:pt x="975" y="275"/>
                  </a:lnTo>
                  <a:lnTo>
                    <a:pt x="975" y="252"/>
                  </a:lnTo>
                  <a:lnTo>
                    <a:pt x="975" y="252"/>
                  </a:lnTo>
                  <a:lnTo>
                    <a:pt x="970" y="252"/>
                  </a:lnTo>
                  <a:lnTo>
                    <a:pt x="966" y="252"/>
                  </a:lnTo>
                  <a:lnTo>
                    <a:pt x="963" y="252"/>
                  </a:lnTo>
                  <a:lnTo>
                    <a:pt x="963" y="252"/>
                  </a:lnTo>
                  <a:lnTo>
                    <a:pt x="963" y="240"/>
                  </a:lnTo>
                  <a:lnTo>
                    <a:pt x="963" y="240"/>
                  </a:lnTo>
                  <a:lnTo>
                    <a:pt x="963" y="228"/>
                  </a:lnTo>
                  <a:lnTo>
                    <a:pt x="963" y="228"/>
                  </a:lnTo>
                  <a:lnTo>
                    <a:pt x="963" y="217"/>
                  </a:lnTo>
                  <a:lnTo>
                    <a:pt x="963" y="217"/>
                  </a:lnTo>
                  <a:lnTo>
                    <a:pt x="963" y="202"/>
                  </a:lnTo>
                  <a:lnTo>
                    <a:pt x="963" y="202"/>
                  </a:lnTo>
                  <a:lnTo>
                    <a:pt x="963" y="179"/>
                  </a:lnTo>
                  <a:lnTo>
                    <a:pt x="963" y="179"/>
                  </a:lnTo>
                  <a:lnTo>
                    <a:pt x="959" y="179"/>
                  </a:lnTo>
                  <a:lnTo>
                    <a:pt x="951" y="179"/>
                  </a:lnTo>
                  <a:lnTo>
                    <a:pt x="951" y="179"/>
                  </a:lnTo>
                  <a:lnTo>
                    <a:pt x="951" y="167"/>
                  </a:lnTo>
                  <a:lnTo>
                    <a:pt x="951" y="167"/>
                  </a:lnTo>
                  <a:lnTo>
                    <a:pt x="951" y="155"/>
                  </a:lnTo>
                  <a:lnTo>
                    <a:pt x="951" y="155"/>
                  </a:lnTo>
                  <a:lnTo>
                    <a:pt x="904" y="155"/>
                  </a:lnTo>
                  <a:lnTo>
                    <a:pt x="904" y="155"/>
                  </a:lnTo>
                  <a:lnTo>
                    <a:pt x="881" y="155"/>
                  </a:lnTo>
                  <a:lnTo>
                    <a:pt x="881" y="155"/>
                  </a:lnTo>
                  <a:lnTo>
                    <a:pt x="881" y="132"/>
                  </a:lnTo>
                  <a:lnTo>
                    <a:pt x="881" y="132"/>
                  </a:lnTo>
                  <a:lnTo>
                    <a:pt x="874" y="132"/>
                  </a:lnTo>
                  <a:lnTo>
                    <a:pt x="871" y="132"/>
                  </a:lnTo>
                  <a:lnTo>
                    <a:pt x="869" y="132"/>
                  </a:lnTo>
                  <a:lnTo>
                    <a:pt x="869" y="132"/>
                  </a:lnTo>
                  <a:lnTo>
                    <a:pt x="869" y="127"/>
                  </a:lnTo>
                  <a:lnTo>
                    <a:pt x="869" y="120"/>
                  </a:lnTo>
                  <a:lnTo>
                    <a:pt x="869" y="120"/>
                  </a:lnTo>
                  <a:lnTo>
                    <a:pt x="869" y="108"/>
                  </a:lnTo>
                  <a:lnTo>
                    <a:pt x="869" y="108"/>
                  </a:lnTo>
                  <a:lnTo>
                    <a:pt x="869" y="96"/>
                  </a:lnTo>
                  <a:lnTo>
                    <a:pt x="869" y="96"/>
                  </a:lnTo>
                  <a:lnTo>
                    <a:pt x="857" y="96"/>
                  </a:lnTo>
                  <a:lnTo>
                    <a:pt x="857" y="96"/>
                  </a:lnTo>
                  <a:lnTo>
                    <a:pt x="845" y="96"/>
                  </a:lnTo>
                  <a:lnTo>
                    <a:pt x="845" y="96"/>
                  </a:lnTo>
                  <a:lnTo>
                    <a:pt x="838" y="96"/>
                  </a:lnTo>
                  <a:lnTo>
                    <a:pt x="834" y="96"/>
                  </a:lnTo>
                  <a:lnTo>
                    <a:pt x="834" y="96"/>
                  </a:lnTo>
                  <a:lnTo>
                    <a:pt x="831" y="99"/>
                  </a:lnTo>
                  <a:lnTo>
                    <a:pt x="834" y="101"/>
                  </a:lnTo>
                  <a:lnTo>
                    <a:pt x="834" y="108"/>
                  </a:lnTo>
                  <a:lnTo>
                    <a:pt x="834" y="108"/>
                  </a:lnTo>
                  <a:lnTo>
                    <a:pt x="827" y="108"/>
                  </a:lnTo>
                  <a:lnTo>
                    <a:pt x="824" y="108"/>
                  </a:lnTo>
                  <a:lnTo>
                    <a:pt x="822" y="108"/>
                  </a:lnTo>
                  <a:lnTo>
                    <a:pt x="822" y="108"/>
                  </a:lnTo>
                  <a:lnTo>
                    <a:pt x="820" y="111"/>
                  </a:lnTo>
                  <a:lnTo>
                    <a:pt x="822" y="115"/>
                  </a:lnTo>
                  <a:lnTo>
                    <a:pt x="822" y="118"/>
                  </a:lnTo>
                  <a:lnTo>
                    <a:pt x="822" y="120"/>
                  </a:lnTo>
                  <a:lnTo>
                    <a:pt x="822" y="120"/>
                  </a:lnTo>
                  <a:lnTo>
                    <a:pt x="820" y="120"/>
                  </a:lnTo>
                  <a:lnTo>
                    <a:pt x="815" y="120"/>
                  </a:lnTo>
                  <a:lnTo>
                    <a:pt x="812" y="120"/>
                  </a:lnTo>
                  <a:lnTo>
                    <a:pt x="810" y="120"/>
                  </a:lnTo>
                  <a:lnTo>
                    <a:pt x="810" y="120"/>
                  </a:lnTo>
                  <a:lnTo>
                    <a:pt x="808" y="122"/>
                  </a:lnTo>
                  <a:lnTo>
                    <a:pt x="808" y="127"/>
                  </a:lnTo>
                  <a:lnTo>
                    <a:pt x="810" y="132"/>
                  </a:lnTo>
                  <a:lnTo>
                    <a:pt x="810" y="132"/>
                  </a:lnTo>
                  <a:lnTo>
                    <a:pt x="803" y="132"/>
                  </a:lnTo>
                  <a:lnTo>
                    <a:pt x="796" y="132"/>
                  </a:lnTo>
                  <a:lnTo>
                    <a:pt x="796" y="132"/>
                  </a:lnTo>
                  <a:lnTo>
                    <a:pt x="796" y="139"/>
                  </a:lnTo>
                  <a:lnTo>
                    <a:pt x="796" y="144"/>
                  </a:lnTo>
                  <a:lnTo>
                    <a:pt x="796" y="144"/>
                  </a:lnTo>
                  <a:lnTo>
                    <a:pt x="796" y="155"/>
                  </a:lnTo>
                  <a:lnTo>
                    <a:pt x="796" y="155"/>
                  </a:lnTo>
                  <a:lnTo>
                    <a:pt x="796" y="167"/>
                  </a:lnTo>
                  <a:lnTo>
                    <a:pt x="796" y="167"/>
                  </a:lnTo>
                  <a:lnTo>
                    <a:pt x="796" y="217"/>
                  </a:lnTo>
                  <a:lnTo>
                    <a:pt x="796" y="217"/>
                  </a:lnTo>
                  <a:lnTo>
                    <a:pt x="784" y="217"/>
                  </a:lnTo>
                  <a:lnTo>
                    <a:pt x="784" y="217"/>
                  </a:lnTo>
                  <a:lnTo>
                    <a:pt x="761" y="217"/>
                  </a:lnTo>
                  <a:lnTo>
                    <a:pt x="761" y="217"/>
                  </a:lnTo>
                  <a:lnTo>
                    <a:pt x="761" y="264"/>
                  </a:lnTo>
                  <a:lnTo>
                    <a:pt x="761" y="264"/>
                  </a:lnTo>
                  <a:lnTo>
                    <a:pt x="761" y="311"/>
                  </a:lnTo>
                  <a:lnTo>
                    <a:pt x="761" y="311"/>
                  </a:lnTo>
                  <a:lnTo>
                    <a:pt x="749" y="311"/>
                  </a:lnTo>
                  <a:lnTo>
                    <a:pt x="749" y="311"/>
                  </a:lnTo>
                  <a:lnTo>
                    <a:pt x="744" y="311"/>
                  </a:lnTo>
                  <a:lnTo>
                    <a:pt x="737" y="311"/>
                  </a:lnTo>
                  <a:lnTo>
                    <a:pt x="737" y="311"/>
                  </a:lnTo>
                  <a:lnTo>
                    <a:pt x="737" y="304"/>
                  </a:lnTo>
                  <a:lnTo>
                    <a:pt x="737" y="299"/>
                  </a:lnTo>
                  <a:lnTo>
                    <a:pt x="737" y="299"/>
                  </a:lnTo>
                  <a:lnTo>
                    <a:pt x="737" y="287"/>
                  </a:lnTo>
                  <a:lnTo>
                    <a:pt x="737" y="287"/>
                  </a:lnTo>
                  <a:lnTo>
                    <a:pt x="737" y="275"/>
                  </a:lnTo>
                  <a:lnTo>
                    <a:pt x="737" y="275"/>
                  </a:lnTo>
                  <a:lnTo>
                    <a:pt x="737" y="252"/>
                  </a:lnTo>
                  <a:lnTo>
                    <a:pt x="737" y="252"/>
                  </a:lnTo>
                  <a:lnTo>
                    <a:pt x="690" y="252"/>
                  </a:lnTo>
                  <a:lnTo>
                    <a:pt x="690" y="252"/>
                  </a:lnTo>
                  <a:lnTo>
                    <a:pt x="678" y="252"/>
                  </a:lnTo>
                  <a:lnTo>
                    <a:pt x="678" y="252"/>
                  </a:lnTo>
                  <a:lnTo>
                    <a:pt x="655" y="252"/>
                  </a:lnTo>
                  <a:lnTo>
                    <a:pt x="655" y="252"/>
                  </a:lnTo>
                  <a:lnTo>
                    <a:pt x="655" y="202"/>
                  </a:lnTo>
                  <a:lnTo>
                    <a:pt x="655" y="202"/>
                  </a:lnTo>
                  <a:lnTo>
                    <a:pt x="655" y="155"/>
                  </a:lnTo>
                  <a:lnTo>
                    <a:pt x="655" y="155"/>
                  </a:lnTo>
                  <a:lnTo>
                    <a:pt x="655" y="144"/>
                  </a:lnTo>
                  <a:lnTo>
                    <a:pt x="655" y="144"/>
                  </a:lnTo>
                  <a:lnTo>
                    <a:pt x="648" y="144"/>
                  </a:lnTo>
                  <a:lnTo>
                    <a:pt x="645" y="144"/>
                  </a:lnTo>
                  <a:lnTo>
                    <a:pt x="643" y="144"/>
                  </a:lnTo>
                  <a:lnTo>
                    <a:pt x="643" y="144"/>
                  </a:lnTo>
                  <a:lnTo>
                    <a:pt x="643" y="141"/>
                  </a:lnTo>
                  <a:lnTo>
                    <a:pt x="643" y="139"/>
                  </a:lnTo>
                  <a:lnTo>
                    <a:pt x="643" y="132"/>
                  </a:lnTo>
                  <a:lnTo>
                    <a:pt x="643" y="132"/>
                  </a:lnTo>
                  <a:lnTo>
                    <a:pt x="643" y="127"/>
                  </a:lnTo>
                  <a:lnTo>
                    <a:pt x="643" y="120"/>
                  </a:lnTo>
                  <a:lnTo>
                    <a:pt x="643" y="120"/>
                  </a:lnTo>
                  <a:lnTo>
                    <a:pt x="640" y="120"/>
                  </a:lnTo>
                  <a:lnTo>
                    <a:pt x="636" y="120"/>
                  </a:lnTo>
                  <a:lnTo>
                    <a:pt x="631" y="120"/>
                  </a:lnTo>
                  <a:lnTo>
                    <a:pt x="631" y="120"/>
                  </a:lnTo>
                  <a:lnTo>
                    <a:pt x="631" y="118"/>
                  </a:lnTo>
                  <a:lnTo>
                    <a:pt x="631" y="115"/>
                  </a:lnTo>
                  <a:lnTo>
                    <a:pt x="631" y="108"/>
                  </a:lnTo>
                  <a:lnTo>
                    <a:pt x="631" y="108"/>
                  </a:lnTo>
                  <a:lnTo>
                    <a:pt x="631" y="96"/>
                  </a:lnTo>
                  <a:lnTo>
                    <a:pt x="631" y="96"/>
                  </a:lnTo>
                  <a:lnTo>
                    <a:pt x="631" y="73"/>
                  </a:lnTo>
                  <a:lnTo>
                    <a:pt x="631" y="73"/>
                  </a:lnTo>
                  <a:lnTo>
                    <a:pt x="631" y="49"/>
                  </a:lnTo>
                  <a:lnTo>
                    <a:pt x="631" y="49"/>
                  </a:lnTo>
                  <a:lnTo>
                    <a:pt x="607" y="49"/>
                  </a:lnTo>
                  <a:lnTo>
                    <a:pt x="607" y="49"/>
                  </a:lnTo>
                  <a:lnTo>
                    <a:pt x="607" y="73"/>
                  </a:lnTo>
                  <a:lnTo>
                    <a:pt x="607" y="73"/>
                  </a:lnTo>
                  <a:lnTo>
                    <a:pt x="607" y="120"/>
                  </a:lnTo>
                  <a:lnTo>
                    <a:pt x="607" y="120"/>
                  </a:lnTo>
                  <a:lnTo>
                    <a:pt x="600" y="120"/>
                  </a:lnTo>
                  <a:lnTo>
                    <a:pt x="596" y="120"/>
                  </a:lnTo>
                  <a:lnTo>
                    <a:pt x="596" y="120"/>
                  </a:lnTo>
                  <a:lnTo>
                    <a:pt x="593" y="118"/>
                  </a:lnTo>
                  <a:lnTo>
                    <a:pt x="596" y="115"/>
                  </a:lnTo>
                  <a:lnTo>
                    <a:pt x="596" y="108"/>
                  </a:lnTo>
                  <a:lnTo>
                    <a:pt x="596" y="108"/>
                  </a:lnTo>
                  <a:lnTo>
                    <a:pt x="584" y="108"/>
                  </a:lnTo>
                  <a:lnTo>
                    <a:pt x="584" y="108"/>
                  </a:lnTo>
                  <a:lnTo>
                    <a:pt x="572" y="108"/>
                  </a:lnTo>
                  <a:lnTo>
                    <a:pt x="572" y="108"/>
                  </a:lnTo>
                  <a:lnTo>
                    <a:pt x="523" y="108"/>
                  </a:lnTo>
                  <a:lnTo>
                    <a:pt x="523" y="108"/>
                  </a:lnTo>
                  <a:lnTo>
                    <a:pt x="523" y="120"/>
                  </a:lnTo>
                  <a:lnTo>
                    <a:pt x="523" y="120"/>
                  </a:lnTo>
                  <a:lnTo>
                    <a:pt x="525" y="127"/>
                  </a:lnTo>
                  <a:lnTo>
                    <a:pt x="523" y="132"/>
                  </a:lnTo>
                  <a:lnTo>
                    <a:pt x="523" y="132"/>
                  </a:lnTo>
                  <a:lnTo>
                    <a:pt x="520" y="132"/>
                  </a:lnTo>
                  <a:lnTo>
                    <a:pt x="518" y="132"/>
                  </a:lnTo>
                  <a:lnTo>
                    <a:pt x="513" y="132"/>
                  </a:lnTo>
                  <a:lnTo>
                    <a:pt x="511" y="132"/>
                  </a:lnTo>
                  <a:lnTo>
                    <a:pt x="511" y="132"/>
                  </a:lnTo>
                  <a:lnTo>
                    <a:pt x="511" y="134"/>
                  </a:lnTo>
                  <a:lnTo>
                    <a:pt x="511" y="139"/>
                  </a:lnTo>
                  <a:lnTo>
                    <a:pt x="511" y="144"/>
                  </a:lnTo>
                  <a:lnTo>
                    <a:pt x="511" y="144"/>
                  </a:lnTo>
                  <a:lnTo>
                    <a:pt x="499" y="144"/>
                  </a:lnTo>
                  <a:lnTo>
                    <a:pt x="499" y="144"/>
                  </a:lnTo>
                  <a:lnTo>
                    <a:pt x="487" y="144"/>
                  </a:lnTo>
                  <a:lnTo>
                    <a:pt x="487" y="144"/>
                  </a:lnTo>
                  <a:lnTo>
                    <a:pt x="487" y="155"/>
                  </a:lnTo>
                  <a:lnTo>
                    <a:pt x="487" y="155"/>
                  </a:lnTo>
                  <a:lnTo>
                    <a:pt x="487" y="162"/>
                  </a:lnTo>
                  <a:lnTo>
                    <a:pt x="487" y="167"/>
                  </a:lnTo>
                  <a:lnTo>
                    <a:pt x="487" y="167"/>
                  </a:lnTo>
                  <a:lnTo>
                    <a:pt x="494" y="167"/>
                  </a:lnTo>
                  <a:lnTo>
                    <a:pt x="499" y="167"/>
                  </a:lnTo>
                  <a:lnTo>
                    <a:pt x="499" y="167"/>
                  </a:lnTo>
                  <a:lnTo>
                    <a:pt x="501" y="169"/>
                  </a:lnTo>
                  <a:lnTo>
                    <a:pt x="499" y="174"/>
                  </a:lnTo>
                  <a:lnTo>
                    <a:pt x="499" y="179"/>
                  </a:lnTo>
                  <a:lnTo>
                    <a:pt x="499" y="179"/>
                  </a:lnTo>
                  <a:lnTo>
                    <a:pt x="499" y="191"/>
                  </a:lnTo>
                  <a:lnTo>
                    <a:pt x="499" y="191"/>
                  </a:lnTo>
                  <a:lnTo>
                    <a:pt x="499" y="202"/>
                  </a:lnTo>
                  <a:lnTo>
                    <a:pt x="499" y="202"/>
                  </a:lnTo>
                  <a:lnTo>
                    <a:pt x="499" y="209"/>
                  </a:lnTo>
                  <a:lnTo>
                    <a:pt x="499" y="217"/>
                  </a:lnTo>
                  <a:lnTo>
                    <a:pt x="499" y="217"/>
                  </a:lnTo>
                  <a:lnTo>
                    <a:pt x="497" y="217"/>
                  </a:lnTo>
                  <a:lnTo>
                    <a:pt x="494" y="217"/>
                  </a:lnTo>
                  <a:lnTo>
                    <a:pt x="487" y="217"/>
                  </a:lnTo>
                  <a:lnTo>
                    <a:pt x="487" y="217"/>
                  </a:lnTo>
                  <a:lnTo>
                    <a:pt x="487" y="209"/>
                  </a:lnTo>
                  <a:lnTo>
                    <a:pt x="487" y="205"/>
                  </a:lnTo>
                  <a:lnTo>
                    <a:pt x="487" y="202"/>
                  </a:lnTo>
                  <a:lnTo>
                    <a:pt x="487" y="202"/>
                  </a:lnTo>
                  <a:lnTo>
                    <a:pt x="483" y="202"/>
                  </a:lnTo>
                  <a:lnTo>
                    <a:pt x="476" y="202"/>
                  </a:lnTo>
                  <a:lnTo>
                    <a:pt x="476" y="202"/>
                  </a:lnTo>
                  <a:lnTo>
                    <a:pt x="476" y="198"/>
                  </a:lnTo>
                  <a:lnTo>
                    <a:pt x="476" y="191"/>
                  </a:lnTo>
                  <a:lnTo>
                    <a:pt x="476" y="191"/>
                  </a:lnTo>
                  <a:lnTo>
                    <a:pt x="476" y="179"/>
                  </a:lnTo>
                  <a:lnTo>
                    <a:pt x="476" y="179"/>
                  </a:lnTo>
                  <a:lnTo>
                    <a:pt x="476" y="167"/>
                  </a:lnTo>
                  <a:lnTo>
                    <a:pt x="476" y="167"/>
                  </a:lnTo>
                  <a:lnTo>
                    <a:pt x="476" y="144"/>
                  </a:lnTo>
                  <a:lnTo>
                    <a:pt x="476" y="144"/>
                  </a:lnTo>
                  <a:lnTo>
                    <a:pt x="476" y="120"/>
                  </a:lnTo>
                  <a:lnTo>
                    <a:pt x="476" y="120"/>
                  </a:lnTo>
                  <a:lnTo>
                    <a:pt x="471" y="120"/>
                  </a:lnTo>
                  <a:lnTo>
                    <a:pt x="464" y="120"/>
                  </a:lnTo>
                  <a:lnTo>
                    <a:pt x="464" y="120"/>
                  </a:lnTo>
                  <a:lnTo>
                    <a:pt x="464" y="118"/>
                  </a:lnTo>
                  <a:lnTo>
                    <a:pt x="464" y="115"/>
                  </a:lnTo>
                  <a:lnTo>
                    <a:pt x="464" y="108"/>
                  </a:lnTo>
                  <a:lnTo>
                    <a:pt x="464" y="108"/>
                  </a:lnTo>
                  <a:lnTo>
                    <a:pt x="457" y="108"/>
                  </a:lnTo>
                  <a:lnTo>
                    <a:pt x="452" y="108"/>
                  </a:lnTo>
                  <a:lnTo>
                    <a:pt x="452" y="108"/>
                  </a:lnTo>
                  <a:lnTo>
                    <a:pt x="452" y="103"/>
                  </a:lnTo>
                  <a:lnTo>
                    <a:pt x="452" y="96"/>
                  </a:lnTo>
                  <a:lnTo>
                    <a:pt x="452" y="96"/>
                  </a:lnTo>
                  <a:lnTo>
                    <a:pt x="452" y="85"/>
                  </a:lnTo>
                  <a:lnTo>
                    <a:pt x="452" y="85"/>
                  </a:lnTo>
                  <a:lnTo>
                    <a:pt x="452" y="78"/>
                  </a:lnTo>
                  <a:lnTo>
                    <a:pt x="452" y="73"/>
                  </a:lnTo>
                  <a:lnTo>
                    <a:pt x="452" y="73"/>
                  </a:lnTo>
                  <a:lnTo>
                    <a:pt x="450" y="73"/>
                  </a:lnTo>
                  <a:lnTo>
                    <a:pt x="447" y="73"/>
                  </a:lnTo>
                  <a:lnTo>
                    <a:pt x="440" y="73"/>
                  </a:lnTo>
                  <a:lnTo>
                    <a:pt x="440" y="73"/>
                  </a:lnTo>
                  <a:lnTo>
                    <a:pt x="440" y="49"/>
                  </a:lnTo>
                  <a:lnTo>
                    <a:pt x="440" y="49"/>
                  </a:lnTo>
                  <a:lnTo>
                    <a:pt x="440" y="37"/>
                  </a:lnTo>
                  <a:lnTo>
                    <a:pt x="440" y="37"/>
                  </a:lnTo>
                  <a:lnTo>
                    <a:pt x="440" y="26"/>
                  </a:lnTo>
                  <a:lnTo>
                    <a:pt x="440" y="26"/>
                  </a:lnTo>
                  <a:lnTo>
                    <a:pt x="440" y="14"/>
                  </a:lnTo>
                  <a:lnTo>
                    <a:pt x="440" y="14"/>
                  </a:lnTo>
                  <a:lnTo>
                    <a:pt x="440" y="7"/>
                  </a:lnTo>
                  <a:lnTo>
                    <a:pt x="440" y="2"/>
                  </a:lnTo>
                  <a:lnTo>
                    <a:pt x="440" y="2"/>
                  </a:lnTo>
                  <a:lnTo>
                    <a:pt x="438" y="0"/>
                  </a:lnTo>
                  <a:lnTo>
                    <a:pt x="435" y="2"/>
                  </a:lnTo>
                  <a:lnTo>
                    <a:pt x="428" y="2"/>
                  </a:lnTo>
                  <a:lnTo>
                    <a:pt x="428" y="2"/>
                  </a:lnTo>
                  <a:lnTo>
                    <a:pt x="428" y="14"/>
                  </a:lnTo>
                  <a:lnTo>
                    <a:pt x="428" y="14"/>
                  </a:lnTo>
                  <a:lnTo>
                    <a:pt x="428" y="26"/>
                  </a:lnTo>
                  <a:lnTo>
                    <a:pt x="428" y="26"/>
                  </a:lnTo>
                  <a:lnTo>
                    <a:pt x="428" y="37"/>
                  </a:lnTo>
                  <a:lnTo>
                    <a:pt x="428" y="37"/>
                  </a:lnTo>
                  <a:lnTo>
                    <a:pt x="428" y="42"/>
                  </a:lnTo>
                  <a:lnTo>
                    <a:pt x="428" y="49"/>
                  </a:lnTo>
                  <a:lnTo>
                    <a:pt x="428" y="49"/>
                  </a:lnTo>
                  <a:lnTo>
                    <a:pt x="421" y="49"/>
                  </a:lnTo>
                  <a:lnTo>
                    <a:pt x="417" y="49"/>
                  </a:lnTo>
                  <a:lnTo>
                    <a:pt x="417" y="49"/>
                  </a:lnTo>
                  <a:lnTo>
                    <a:pt x="417" y="54"/>
                  </a:lnTo>
                  <a:lnTo>
                    <a:pt x="417" y="61"/>
                  </a:lnTo>
                  <a:lnTo>
                    <a:pt x="417" y="61"/>
                  </a:lnTo>
                  <a:lnTo>
                    <a:pt x="417" y="66"/>
                  </a:lnTo>
                  <a:lnTo>
                    <a:pt x="417" y="73"/>
                  </a:lnTo>
                  <a:lnTo>
                    <a:pt x="417" y="73"/>
                  </a:lnTo>
                  <a:lnTo>
                    <a:pt x="410" y="73"/>
                  </a:lnTo>
                  <a:lnTo>
                    <a:pt x="405" y="73"/>
                  </a:lnTo>
                  <a:lnTo>
                    <a:pt x="405" y="73"/>
                  </a:lnTo>
                  <a:lnTo>
                    <a:pt x="405" y="75"/>
                  </a:lnTo>
                  <a:lnTo>
                    <a:pt x="405" y="78"/>
                  </a:lnTo>
                  <a:lnTo>
                    <a:pt x="405" y="85"/>
                  </a:lnTo>
                  <a:lnTo>
                    <a:pt x="405" y="85"/>
                  </a:lnTo>
                  <a:lnTo>
                    <a:pt x="405" y="108"/>
                  </a:lnTo>
                  <a:lnTo>
                    <a:pt x="405" y="108"/>
                  </a:lnTo>
                  <a:lnTo>
                    <a:pt x="393" y="108"/>
                  </a:lnTo>
                  <a:lnTo>
                    <a:pt x="393" y="108"/>
                  </a:lnTo>
                  <a:lnTo>
                    <a:pt x="370" y="108"/>
                  </a:lnTo>
                  <a:lnTo>
                    <a:pt x="370" y="108"/>
                  </a:lnTo>
                  <a:lnTo>
                    <a:pt x="370" y="155"/>
                  </a:lnTo>
                  <a:lnTo>
                    <a:pt x="370" y="155"/>
                  </a:lnTo>
                  <a:lnTo>
                    <a:pt x="370" y="179"/>
                  </a:lnTo>
                  <a:lnTo>
                    <a:pt x="370" y="179"/>
                  </a:lnTo>
                  <a:lnTo>
                    <a:pt x="370" y="191"/>
                  </a:lnTo>
                  <a:lnTo>
                    <a:pt x="370" y="191"/>
                  </a:lnTo>
                  <a:lnTo>
                    <a:pt x="370" y="198"/>
                  </a:lnTo>
                  <a:lnTo>
                    <a:pt x="370" y="202"/>
                  </a:lnTo>
                  <a:lnTo>
                    <a:pt x="370" y="202"/>
                  </a:lnTo>
                  <a:lnTo>
                    <a:pt x="362" y="205"/>
                  </a:lnTo>
                  <a:lnTo>
                    <a:pt x="358" y="202"/>
                  </a:lnTo>
                  <a:lnTo>
                    <a:pt x="358" y="202"/>
                  </a:lnTo>
                  <a:lnTo>
                    <a:pt x="358" y="252"/>
                  </a:lnTo>
                  <a:lnTo>
                    <a:pt x="358" y="252"/>
                  </a:lnTo>
                  <a:lnTo>
                    <a:pt x="351" y="252"/>
                  </a:lnTo>
                  <a:lnTo>
                    <a:pt x="346" y="252"/>
                  </a:lnTo>
                  <a:lnTo>
                    <a:pt x="346" y="252"/>
                  </a:lnTo>
                  <a:lnTo>
                    <a:pt x="344" y="245"/>
                  </a:lnTo>
                  <a:lnTo>
                    <a:pt x="346" y="240"/>
                  </a:lnTo>
                  <a:lnTo>
                    <a:pt x="346" y="240"/>
                  </a:lnTo>
                  <a:lnTo>
                    <a:pt x="346" y="228"/>
                  </a:lnTo>
                  <a:lnTo>
                    <a:pt x="346" y="228"/>
                  </a:lnTo>
                  <a:lnTo>
                    <a:pt x="346" y="202"/>
                  </a:lnTo>
                  <a:lnTo>
                    <a:pt x="346" y="202"/>
                  </a:lnTo>
                  <a:lnTo>
                    <a:pt x="346" y="179"/>
                  </a:lnTo>
                  <a:lnTo>
                    <a:pt x="346" y="179"/>
                  </a:lnTo>
                  <a:lnTo>
                    <a:pt x="322" y="179"/>
                  </a:lnTo>
                  <a:lnTo>
                    <a:pt x="322" y="179"/>
                  </a:lnTo>
                  <a:lnTo>
                    <a:pt x="308" y="179"/>
                  </a:lnTo>
                  <a:lnTo>
                    <a:pt x="308" y="179"/>
                  </a:lnTo>
                  <a:lnTo>
                    <a:pt x="304" y="181"/>
                  </a:lnTo>
                  <a:lnTo>
                    <a:pt x="296" y="179"/>
                  </a:lnTo>
                  <a:lnTo>
                    <a:pt x="296" y="179"/>
                  </a:lnTo>
                  <a:lnTo>
                    <a:pt x="296" y="174"/>
                  </a:lnTo>
                  <a:lnTo>
                    <a:pt x="296" y="167"/>
                  </a:lnTo>
                  <a:lnTo>
                    <a:pt x="296" y="167"/>
                  </a:lnTo>
                  <a:lnTo>
                    <a:pt x="296" y="144"/>
                  </a:lnTo>
                  <a:lnTo>
                    <a:pt x="296" y="144"/>
                  </a:lnTo>
                  <a:lnTo>
                    <a:pt x="273" y="144"/>
                  </a:lnTo>
                  <a:lnTo>
                    <a:pt x="273" y="144"/>
                  </a:lnTo>
                  <a:lnTo>
                    <a:pt x="249" y="144"/>
                  </a:lnTo>
                  <a:lnTo>
                    <a:pt x="249" y="144"/>
                  </a:lnTo>
                  <a:lnTo>
                    <a:pt x="238" y="144"/>
                  </a:lnTo>
                  <a:lnTo>
                    <a:pt x="238" y="144"/>
                  </a:lnTo>
                  <a:lnTo>
                    <a:pt x="214" y="144"/>
                  </a:lnTo>
                  <a:lnTo>
                    <a:pt x="214" y="144"/>
                  </a:lnTo>
                  <a:lnTo>
                    <a:pt x="214" y="155"/>
                  </a:lnTo>
                  <a:lnTo>
                    <a:pt x="214" y="155"/>
                  </a:lnTo>
                  <a:lnTo>
                    <a:pt x="214" y="179"/>
                  </a:lnTo>
                  <a:lnTo>
                    <a:pt x="214" y="179"/>
                  </a:lnTo>
                  <a:lnTo>
                    <a:pt x="202" y="179"/>
                  </a:lnTo>
                  <a:lnTo>
                    <a:pt x="202" y="179"/>
                  </a:lnTo>
                  <a:lnTo>
                    <a:pt x="179" y="179"/>
                  </a:lnTo>
                  <a:lnTo>
                    <a:pt x="179" y="179"/>
                  </a:lnTo>
                  <a:lnTo>
                    <a:pt x="179" y="191"/>
                  </a:lnTo>
                  <a:lnTo>
                    <a:pt x="179" y="191"/>
                  </a:lnTo>
                  <a:lnTo>
                    <a:pt x="179" y="217"/>
                  </a:lnTo>
                  <a:lnTo>
                    <a:pt x="179" y="217"/>
                  </a:lnTo>
                  <a:lnTo>
                    <a:pt x="179" y="240"/>
                  </a:lnTo>
                  <a:lnTo>
                    <a:pt x="179" y="240"/>
                  </a:lnTo>
                  <a:lnTo>
                    <a:pt x="172" y="240"/>
                  </a:lnTo>
                  <a:lnTo>
                    <a:pt x="169" y="238"/>
                  </a:lnTo>
                  <a:lnTo>
                    <a:pt x="167" y="240"/>
                  </a:lnTo>
                  <a:lnTo>
                    <a:pt x="167" y="240"/>
                  </a:lnTo>
                  <a:lnTo>
                    <a:pt x="167" y="242"/>
                  </a:lnTo>
                  <a:lnTo>
                    <a:pt x="167" y="245"/>
                  </a:lnTo>
                  <a:lnTo>
                    <a:pt x="167" y="250"/>
                  </a:lnTo>
                  <a:lnTo>
                    <a:pt x="167" y="252"/>
                  </a:lnTo>
                  <a:lnTo>
                    <a:pt x="167" y="252"/>
                  </a:lnTo>
                  <a:lnTo>
                    <a:pt x="165" y="252"/>
                  </a:lnTo>
                  <a:lnTo>
                    <a:pt x="160" y="252"/>
                  </a:lnTo>
                  <a:lnTo>
                    <a:pt x="155" y="252"/>
                  </a:lnTo>
                  <a:lnTo>
                    <a:pt x="155" y="252"/>
                  </a:lnTo>
                  <a:lnTo>
                    <a:pt x="155" y="264"/>
                  </a:lnTo>
                  <a:lnTo>
                    <a:pt x="155" y="264"/>
                  </a:lnTo>
                  <a:lnTo>
                    <a:pt x="155" y="275"/>
                  </a:lnTo>
                  <a:lnTo>
                    <a:pt x="155" y="275"/>
                  </a:lnTo>
                  <a:lnTo>
                    <a:pt x="148" y="275"/>
                  </a:lnTo>
                  <a:lnTo>
                    <a:pt x="143" y="275"/>
                  </a:lnTo>
                  <a:lnTo>
                    <a:pt x="143" y="275"/>
                  </a:lnTo>
                  <a:lnTo>
                    <a:pt x="143" y="280"/>
                  </a:lnTo>
                  <a:lnTo>
                    <a:pt x="143" y="287"/>
                  </a:lnTo>
                  <a:lnTo>
                    <a:pt x="143" y="287"/>
                  </a:lnTo>
                  <a:lnTo>
                    <a:pt x="143" y="299"/>
                  </a:lnTo>
                  <a:lnTo>
                    <a:pt x="143" y="299"/>
                  </a:lnTo>
                  <a:lnTo>
                    <a:pt x="143" y="323"/>
                  </a:lnTo>
                  <a:lnTo>
                    <a:pt x="143" y="323"/>
                  </a:lnTo>
                  <a:lnTo>
                    <a:pt x="143" y="334"/>
                  </a:lnTo>
                  <a:lnTo>
                    <a:pt x="143" y="334"/>
                  </a:lnTo>
                  <a:lnTo>
                    <a:pt x="143" y="358"/>
                  </a:lnTo>
                  <a:lnTo>
                    <a:pt x="143" y="358"/>
                  </a:lnTo>
                  <a:lnTo>
                    <a:pt x="136" y="358"/>
                  </a:lnTo>
                  <a:lnTo>
                    <a:pt x="132" y="358"/>
                  </a:lnTo>
                  <a:lnTo>
                    <a:pt x="132" y="358"/>
                  </a:lnTo>
                  <a:lnTo>
                    <a:pt x="124" y="358"/>
                  </a:lnTo>
                  <a:lnTo>
                    <a:pt x="120" y="358"/>
                  </a:lnTo>
                  <a:lnTo>
                    <a:pt x="120" y="358"/>
                  </a:lnTo>
                  <a:lnTo>
                    <a:pt x="120" y="353"/>
                  </a:lnTo>
                  <a:lnTo>
                    <a:pt x="120" y="346"/>
                  </a:lnTo>
                  <a:lnTo>
                    <a:pt x="120" y="346"/>
                  </a:lnTo>
                  <a:lnTo>
                    <a:pt x="120" y="341"/>
                  </a:lnTo>
                  <a:lnTo>
                    <a:pt x="120" y="334"/>
                  </a:lnTo>
                  <a:lnTo>
                    <a:pt x="120" y="334"/>
                  </a:lnTo>
                  <a:lnTo>
                    <a:pt x="120" y="327"/>
                  </a:lnTo>
                  <a:lnTo>
                    <a:pt x="120" y="323"/>
                  </a:lnTo>
                  <a:lnTo>
                    <a:pt x="120" y="323"/>
                  </a:lnTo>
                  <a:lnTo>
                    <a:pt x="117" y="323"/>
                  </a:lnTo>
                  <a:lnTo>
                    <a:pt x="113" y="323"/>
                  </a:lnTo>
                  <a:lnTo>
                    <a:pt x="108" y="323"/>
                  </a:lnTo>
                  <a:lnTo>
                    <a:pt x="108" y="323"/>
                  </a:lnTo>
                  <a:lnTo>
                    <a:pt x="108" y="299"/>
                  </a:lnTo>
                  <a:lnTo>
                    <a:pt x="108" y="299"/>
                  </a:lnTo>
                  <a:lnTo>
                    <a:pt x="11" y="299"/>
                  </a:lnTo>
                  <a:lnTo>
                    <a:pt x="11" y="299"/>
                  </a:lnTo>
                  <a:lnTo>
                    <a:pt x="0" y="299"/>
                  </a:lnTo>
                  <a:lnTo>
                    <a:pt x="0" y="561"/>
                  </a:lnTo>
                  <a:lnTo>
                    <a:pt x="0" y="561"/>
                  </a:lnTo>
                  <a:lnTo>
                    <a:pt x="11" y="561"/>
                  </a:lnTo>
                  <a:lnTo>
                    <a:pt x="11" y="561"/>
                  </a:lnTo>
                  <a:lnTo>
                    <a:pt x="35" y="561"/>
                  </a:lnTo>
                  <a:lnTo>
                    <a:pt x="35" y="561"/>
                  </a:lnTo>
                  <a:lnTo>
                    <a:pt x="47" y="561"/>
                  </a:lnTo>
                  <a:lnTo>
                    <a:pt x="47" y="561"/>
                  </a:lnTo>
                  <a:lnTo>
                    <a:pt x="70" y="561"/>
                  </a:lnTo>
                  <a:lnTo>
                    <a:pt x="70" y="561"/>
                  </a:lnTo>
                  <a:lnTo>
                    <a:pt x="84" y="561"/>
                  </a:lnTo>
                  <a:lnTo>
                    <a:pt x="84" y="561"/>
                  </a:lnTo>
                  <a:lnTo>
                    <a:pt x="108" y="561"/>
                  </a:lnTo>
                  <a:lnTo>
                    <a:pt x="108" y="561"/>
                  </a:lnTo>
                  <a:lnTo>
                    <a:pt x="120" y="561"/>
                  </a:lnTo>
                  <a:lnTo>
                    <a:pt x="120" y="561"/>
                  </a:lnTo>
                  <a:lnTo>
                    <a:pt x="143" y="561"/>
                  </a:lnTo>
                  <a:lnTo>
                    <a:pt x="143" y="561"/>
                  </a:lnTo>
                  <a:lnTo>
                    <a:pt x="155" y="561"/>
                  </a:lnTo>
                  <a:lnTo>
                    <a:pt x="155" y="561"/>
                  </a:lnTo>
                  <a:lnTo>
                    <a:pt x="179" y="561"/>
                  </a:lnTo>
                  <a:lnTo>
                    <a:pt x="179" y="561"/>
                  </a:lnTo>
                  <a:lnTo>
                    <a:pt x="190" y="561"/>
                  </a:lnTo>
                  <a:lnTo>
                    <a:pt x="190" y="561"/>
                  </a:lnTo>
                  <a:lnTo>
                    <a:pt x="214" y="561"/>
                  </a:lnTo>
                  <a:lnTo>
                    <a:pt x="214" y="561"/>
                  </a:lnTo>
                  <a:lnTo>
                    <a:pt x="226" y="561"/>
                  </a:lnTo>
                  <a:lnTo>
                    <a:pt x="226" y="561"/>
                  </a:lnTo>
                  <a:lnTo>
                    <a:pt x="273" y="561"/>
                  </a:lnTo>
                  <a:lnTo>
                    <a:pt x="273" y="561"/>
                  </a:lnTo>
                  <a:lnTo>
                    <a:pt x="285" y="561"/>
                  </a:lnTo>
                  <a:lnTo>
                    <a:pt x="285" y="561"/>
                  </a:lnTo>
                  <a:lnTo>
                    <a:pt x="308" y="561"/>
                  </a:lnTo>
                  <a:lnTo>
                    <a:pt x="308" y="561"/>
                  </a:lnTo>
                  <a:lnTo>
                    <a:pt x="322" y="561"/>
                  </a:lnTo>
                  <a:lnTo>
                    <a:pt x="322" y="561"/>
                  </a:lnTo>
                  <a:lnTo>
                    <a:pt x="346" y="561"/>
                  </a:lnTo>
                  <a:lnTo>
                    <a:pt x="346" y="561"/>
                  </a:lnTo>
                  <a:lnTo>
                    <a:pt x="358" y="561"/>
                  </a:lnTo>
                  <a:lnTo>
                    <a:pt x="358" y="561"/>
                  </a:lnTo>
                  <a:lnTo>
                    <a:pt x="381" y="561"/>
                  </a:lnTo>
                  <a:lnTo>
                    <a:pt x="381" y="561"/>
                  </a:lnTo>
                  <a:lnTo>
                    <a:pt x="393" y="561"/>
                  </a:lnTo>
                  <a:lnTo>
                    <a:pt x="393" y="561"/>
                  </a:lnTo>
                  <a:lnTo>
                    <a:pt x="417" y="561"/>
                  </a:lnTo>
                  <a:lnTo>
                    <a:pt x="417" y="561"/>
                  </a:lnTo>
                  <a:lnTo>
                    <a:pt x="428" y="561"/>
                  </a:lnTo>
                  <a:lnTo>
                    <a:pt x="428" y="561"/>
                  </a:lnTo>
                  <a:lnTo>
                    <a:pt x="452" y="561"/>
                  </a:lnTo>
                  <a:lnTo>
                    <a:pt x="452" y="561"/>
                  </a:lnTo>
                  <a:lnTo>
                    <a:pt x="464" y="561"/>
                  </a:lnTo>
                  <a:lnTo>
                    <a:pt x="464" y="561"/>
                  </a:lnTo>
                  <a:lnTo>
                    <a:pt x="487" y="561"/>
                  </a:lnTo>
                  <a:lnTo>
                    <a:pt x="487" y="561"/>
                  </a:lnTo>
                  <a:lnTo>
                    <a:pt x="499" y="561"/>
                  </a:lnTo>
                  <a:lnTo>
                    <a:pt x="499" y="561"/>
                  </a:lnTo>
                  <a:lnTo>
                    <a:pt x="546" y="561"/>
                  </a:lnTo>
                  <a:lnTo>
                    <a:pt x="546" y="561"/>
                  </a:lnTo>
                  <a:lnTo>
                    <a:pt x="558" y="561"/>
                  </a:lnTo>
                  <a:lnTo>
                    <a:pt x="558" y="561"/>
                  </a:lnTo>
                  <a:lnTo>
                    <a:pt x="584" y="561"/>
                  </a:lnTo>
                  <a:lnTo>
                    <a:pt x="584" y="561"/>
                  </a:lnTo>
                  <a:lnTo>
                    <a:pt x="596" y="561"/>
                  </a:lnTo>
                  <a:lnTo>
                    <a:pt x="596" y="561"/>
                  </a:lnTo>
                  <a:lnTo>
                    <a:pt x="619" y="561"/>
                  </a:lnTo>
                  <a:lnTo>
                    <a:pt x="619" y="561"/>
                  </a:lnTo>
                  <a:lnTo>
                    <a:pt x="631" y="561"/>
                  </a:lnTo>
                  <a:lnTo>
                    <a:pt x="631" y="561"/>
                  </a:lnTo>
                  <a:lnTo>
                    <a:pt x="655" y="561"/>
                  </a:lnTo>
                  <a:lnTo>
                    <a:pt x="655" y="561"/>
                  </a:lnTo>
                  <a:lnTo>
                    <a:pt x="666" y="561"/>
                  </a:lnTo>
                  <a:lnTo>
                    <a:pt x="666" y="561"/>
                  </a:lnTo>
                  <a:lnTo>
                    <a:pt x="690" y="561"/>
                  </a:lnTo>
                  <a:lnTo>
                    <a:pt x="690" y="561"/>
                  </a:lnTo>
                  <a:lnTo>
                    <a:pt x="702" y="561"/>
                  </a:lnTo>
                  <a:lnTo>
                    <a:pt x="702" y="561"/>
                  </a:lnTo>
                  <a:lnTo>
                    <a:pt x="725" y="561"/>
                  </a:lnTo>
                  <a:lnTo>
                    <a:pt x="725" y="561"/>
                  </a:lnTo>
                  <a:lnTo>
                    <a:pt x="737" y="561"/>
                  </a:lnTo>
                  <a:lnTo>
                    <a:pt x="737" y="561"/>
                  </a:lnTo>
                  <a:lnTo>
                    <a:pt x="761" y="561"/>
                  </a:lnTo>
                  <a:lnTo>
                    <a:pt x="761" y="561"/>
                  </a:lnTo>
                  <a:lnTo>
                    <a:pt x="772" y="561"/>
                  </a:lnTo>
                  <a:lnTo>
                    <a:pt x="772" y="561"/>
                  </a:lnTo>
                  <a:lnTo>
                    <a:pt x="796" y="561"/>
                  </a:lnTo>
                  <a:lnTo>
                    <a:pt x="796" y="561"/>
                  </a:lnTo>
                  <a:lnTo>
                    <a:pt x="810" y="561"/>
                  </a:lnTo>
                  <a:lnTo>
                    <a:pt x="810" y="561"/>
                  </a:lnTo>
                  <a:lnTo>
                    <a:pt x="834" y="561"/>
                  </a:lnTo>
                  <a:lnTo>
                    <a:pt x="834" y="561"/>
                  </a:lnTo>
                  <a:lnTo>
                    <a:pt x="845" y="561"/>
                  </a:lnTo>
                  <a:lnTo>
                    <a:pt x="845" y="561"/>
                  </a:lnTo>
                  <a:lnTo>
                    <a:pt x="869" y="561"/>
                  </a:lnTo>
                  <a:lnTo>
                    <a:pt x="869" y="561"/>
                  </a:lnTo>
                  <a:lnTo>
                    <a:pt x="881" y="561"/>
                  </a:lnTo>
                  <a:lnTo>
                    <a:pt x="881" y="561"/>
                  </a:lnTo>
                  <a:lnTo>
                    <a:pt x="904" y="561"/>
                  </a:lnTo>
                  <a:lnTo>
                    <a:pt x="904" y="561"/>
                  </a:lnTo>
                  <a:lnTo>
                    <a:pt x="916" y="561"/>
                  </a:lnTo>
                  <a:lnTo>
                    <a:pt x="916" y="561"/>
                  </a:lnTo>
                  <a:lnTo>
                    <a:pt x="940" y="561"/>
                  </a:lnTo>
                  <a:lnTo>
                    <a:pt x="940" y="561"/>
                  </a:lnTo>
                  <a:lnTo>
                    <a:pt x="951" y="561"/>
                  </a:lnTo>
                  <a:lnTo>
                    <a:pt x="951" y="561"/>
                  </a:lnTo>
                  <a:lnTo>
                    <a:pt x="975" y="561"/>
                  </a:lnTo>
                  <a:lnTo>
                    <a:pt x="975" y="561"/>
                  </a:lnTo>
                  <a:lnTo>
                    <a:pt x="987" y="561"/>
                  </a:lnTo>
                  <a:lnTo>
                    <a:pt x="987" y="561"/>
                  </a:lnTo>
                  <a:lnTo>
                    <a:pt x="1010" y="561"/>
                  </a:lnTo>
                  <a:lnTo>
                    <a:pt x="1010" y="561"/>
                  </a:lnTo>
                  <a:lnTo>
                    <a:pt x="1022" y="561"/>
                  </a:lnTo>
                  <a:lnTo>
                    <a:pt x="1022" y="561"/>
                  </a:lnTo>
                  <a:lnTo>
                    <a:pt x="1046" y="561"/>
                  </a:lnTo>
                  <a:lnTo>
                    <a:pt x="1046" y="561"/>
                  </a:lnTo>
                  <a:lnTo>
                    <a:pt x="1060" y="561"/>
                  </a:lnTo>
                  <a:lnTo>
                    <a:pt x="1060" y="561"/>
                  </a:lnTo>
                  <a:lnTo>
                    <a:pt x="1107" y="561"/>
                  </a:lnTo>
                  <a:lnTo>
                    <a:pt x="1107" y="561"/>
                  </a:lnTo>
                  <a:lnTo>
                    <a:pt x="1119" y="561"/>
                  </a:lnTo>
                  <a:lnTo>
                    <a:pt x="1119" y="561"/>
                  </a:lnTo>
                  <a:lnTo>
                    <a:pt x="1142" y="561"/>
                  </a:lnTo>
                  <a:lnTo>
                    <a:pt x="1142" y="561"/>
                  </a:lnTo>
                  <a:lnTo>
                    <a:pt x="1154" y="561"/>
                  </a:lnTo>
                  <a:lnTo>
                    <a:pt x="1154" y="561"/>
                  </a:lnTo>
                  <a:lnTo>
                    <a:pt x="1178" y="561"/>
                  </a:lnTo>
                  <a:lnTo>
                    <a:pt x="1178" y="561"/>
                  </a:lnTo>
                  <a:lnTo>
                    <a:pt x="1189" y="561"/>
                  </a:lnTo>
                  <a:lnTo>
                    <a:pt x="1189" y="561"/>
                  </a:lnTo>
                  <a:lnTo>
                    <a:pt x="1213" y="561"/>
                  </a:lnTo>
                  <a:lnTo>
                    <a:pt x="1213" y="561"/>
                  </a:lnTo>
                  <a:lnTo>
                    <a:pt x="1225" y="561"/>
                  </a:lnTo>
                  <a:lnTo>
                    <a:pt x="1225" y="561"/>
                  </a:lnTo>
                  <a:lnTo>
                    <a:pt x="1248" y="561"/>
                  </a:lnTo>
                  <a:lnTo>
                    <a:pt x="1248" y="561"/>
                  </a:lnTo>
                  <a:lnTo>
                    <a:pt x="1260" y="561"/>
                  </a:lnTo>
                  <a:lnTo>
                    <a:pt x="1260" y="561"/>
                  </a:lnTo>
                  <a:lnTo>
                    <a:pt x="1284" y="561"/>
                  </a:lnTo>
                  <a:lnTo>
                    <a:pt x="1284" y="561"/>
                  </a:lnTo>
                  <a:lnTo>
                    <a:pt x="1298" y="561"/>
                  </a:lnTo>
                  <a:lnTo>
                    <a:pt x="1298" y="561"/>
                  </a:lnTo>
                  <a:lnTo>
                    <a:pt x="1321" y="561"/>
                  </a:lnTo>
                  <a:lnTo>
                    <a:pt x="1321" y="561"/>
                  </a:lnTo>
                  <a:lnTo>
                    <a:pt x="1333" y="561"/>
                  </a:lnTo>
                  <a:lnTo>
                    <a:pt x="1333" y="561"/>
                  </a:lnTo>
                  <a:lnTo>
                    <a:pt x="1380" y="561"/>
                  </a:lnTo>
                  <a:lnTo>
                    <a:pt x="1380" y="561"/>
                  </a:lnTo>
                  <a:lnTo>
                    <a:pt x="1392" y="561"/>
                  </a:lnTo>
                  <a:lnTo>
                    <a:pt x="1392" y="561"/>
                  </a:lnTo>
                  <a:lnTo>
                    <a:pt x="1416" y="561"/>
                  </a:lnTo>
                  <a:lnTo>
                    <a:pt x="1416" y="561"/>
                  </a:lnTo>
                  <a:lnTo>
                    <a:pt x="1427" y="561"/>
                  </a:lnTo>
                  <a:lnTo>
                    <a:pt x="1427" y="561"/>
                  </a:lnTo>
                  <a:lnTo>
                    <a:pt x="1451" y="561"/>
                  </a:lnTo>
                  <a:lnTo>
                    <a:pt x="1451" y="561"/>
                  </a:lnTo>
                  <a:lnTo>
                    <a:pt x="1463" y="561"/>
                  </a:lnTo>
                  <a:lnTo>
                    <a:pt x="1463" y="561"/>
                  </a:lnTo>
                  <a:lnTo>
                    <a:pt x="1486" y="561"/>
                  </a:lnTo>
                  <a:lnTo>
                    <a:pt x="1486" y="561"/>
                  </a:lnTo>
                  <a:lnTo>
                    <a:pt x="1498" y="561"/>
                  </a:lnTo>
                  <a:lnTo>
                    <a:pt x="1498" y="561"/>
                  </a:lnTo>
                  <a:lnTo>
                    <a:pt x="1522" y="561"/>
                  </a:lnTo>
                  <a:lnTo>
                    <a:pt x="1522" y="561"/>
                  </a:lnTo>
                  <a:lnTo>
                    <a:pt x="1533" y="561"/>
                  </a:lnTo>
                  <a:lnTo>
                    <a:pt x="1533" y="561"/>
                  </a:lnTo>
                  <a:lnTo>
                    <a:pt x="1559" y="561"/>
                  </a:lnTo>
                  <a:lnTo>
                    <a:pt x="1559" y="561"/>
                  </a:lnTo>
                  <a:lnTo>
                    <a:pt x="1571" y="561"/>
                  </a:lnTo>
                  <a:lnTo>
                    <a:pt x="1571" y="561"/>
                  </a:lnTo>
                  <a:lnTo>
                    <a:pt x="1595" y="561"/>
                  </a:lnTo>
                  <a:lnTo>
                    <a:pt x="1595" y="561"/>
                  </a:lnTo>
                  <a:lnTo>
                    <a:pt x="1607" y="561"/>
                  </a:lnTo>
                  <a:lnTo>
                    <a:pt x="1607" y="561"/>
                  </a:lnTo>
                  <a:lnTo>
                    <a:pt x="1654" y="561"/>
                  </a:lnTo>
                  <a:lnTo>
                    <a:pt x="1654" y="561"/>
                  </a:lnTo>
                  <a:lnTo>
                    <a:pt x="1665" y="561"/>
                  </a:lnTo>
                  <a:lnTo>
                    <a:pt x="1665" y="561"/>
                  </a:lnTo>
                  <a:lnTo>
                    <a:pt x="1689" y="561"/>
                  </a:lnTo>
                  <a:lnTo>
                    <a:pt x="1689" y="561"/>
                  </a:lnTo>
                  <a:lnTo>
                    <a:pt x="1701" y="561"/>
                  </a:lnTo>
                  <a:lnTo>
                    <a:pt x="1701" y="561"/>
                  </a:lnTo>
                  <a:lnTo>
                    <a:pt x="1724" y="561"/>
                  </a:lnTo>
                  <a:lnTo>
                    <a:pt x="1724" y="561"/>
                  </a:lnTo>
                  <a:lnTo>
                    <a:pt x="1736" y="561"/>
                  </a:lnTo>
                  <a:lnTo>
                    <a:pt x="1736" y="561"/>
                  </a:lnTo>
                  <a:lnTo>
                    <a:pt x="1760" y="561"/>
                  </a:lnTo>
                  <a:lnTo>
                    <a:pt x="1760" y="561"/>
                  </a:lnTo>
                  <a:lnTo>
                    <a:pt x="1809" y="561"/>
                  </a:lnTo>
                  <a:lnTo>
                    <a:pt x="1809" y="561"/>
                  </a:lnTo>
                  <a:lnTo>
                    <a:pt x="1833" y="561"/>
                  </a:lnTo>
                  <a:lnTo>
                    <a:pt x="1833" y="561"/>
                  </a:lnTo>
                  <a:lnTo>
                    <a:pt x="1844" y="561"/>
                  </a:lnTo>
                  <a:lnTo>
                    <a:pt x="1844" y="561"/>
                  </a:lnTo>
                  <a:lnTo>
                    <a:pt x="1868" y="561"/>
                  </a:lnTo>
                  <a:lnTo>
                    <a:pt x="1868" y="561"/>
                  </a:lnTo>
                  <a:lnTo>
                    <a:pt x="1880" y="561"/>
                  </a:lnTo>
                  <a:lnTo>
                    <a:pt x="1880" y="561"/>
                  </a:lnTo>
                  <a:lnTo>
                    <a:pt x="1903" y="561"/>
                  </a:lnTo>
                  <a:lnTo>
                    <a:pt x="1903" y="561"/>
                  </a:lnTo>
                  <a:lnTo>
                    <a:pt x="1915" y="561"/>
                  </a:lnTo>
                  <a:lnTo>
                    <a:pt x="1915" y="561"/>
                  </a:lnTo>
                  <a:lnTo>
                    <a:pt x="1939" y="561"/>
                  </a:lnTo>
                  <a:lnTo>
                    <a:pt x="1939" y="561"/>
                  </a:lnTo>
                  <a:lnTo>
                    <a:pt x="1951" y="561"/>
                  </a:lnTo>
                  <a:lnTo>
                    <a:pt x="1951" y="561"/>
                  </a:lnTo>
                  <a:lnTo>
                    <a:pt x="1974" y="561"/>
                  </a:lnTo>
                  <a:lnTo>
                    <a:pt x="1974" y="561"/>
                  </a:lnTo>
                  <a:lnTo>
                    <a:pt x="1986" y="561"/>
                  </a:lnTo>
                  <a:lnTo>
                    <a:pt x="1986" y="561"/>
                  </a:lnTo>
                  <a:lnTo>
                    <a:pt x="2009" y="561"/>
                  </a:lnTo>
                  <a:lnTo>
                    <a:pt x="2009" y="561"/>
                  </a:lnTo>
                  <a:lnTo>
                    <a:pt x="2021" y="561"/>
                  </a:lnTo>
                  <a:lnTo>
                    <a:pt x="2021" y="561"/>
                  </a:lnTo>
                  <a:lnTo>
                    <a:pt x="2047" y="561"/>
                  </a:lnTo>
                  <a:lnTo>
                    <a:pt x="2047" y="561"/>
                  </a:lnTo>
                  <a:lnTo>
                    <a:pt x="2059" y="561"/>
                  </a:lnTo>
                  <a:lnTo>
                    <a:pt x="2059" y="561"/>
                  </a:lnTo>
                  <a:lnTo>
                    <a:pt x="2082" y="561"/>
                  </a:lnTo>
                  <a:lnTo>
                    <a:pt x="2082" y="561"/>
                  </a:lnTo>
                  <a:lnTo>
                    <a:pt x="2130" y="561"/>
                  </a:lnTo>
                  <a:lnTo>
                    <a:pt x="2130" y="561"/>
                  </a:lnTo>
                  <a:lnTo>
                    <a:pt x="2153" y="561"/>
                  </a:lnTo>
                  <a:lnTo>
                    <a:pt x="2153" y="561"/>
                  </a:lnTo>
                  <a:lnTo>
                    <a:pt x="2165" y="561"/>
                  </a:lnTo>
                  <a:lnTo>
                    <a:pt x="2165" y="561"/>
                  </a:lnTo>
                  <a:lnTo>
                    <a:pt x="2188" y="561"/>
                  </a:lnTo>
                  <a:lnTo>
                    <a:pt x="2188" y="561"/>
                  </a:lnTo>
                  <a:lnTo>
                    <a:pt x="2212" y="561"/>
                  </a:lnTo>
                  <a:lnTo>
                    <a:pt x="2212" y="561"/>
                  </a:lnTo>
                  <a:lnTo>
                    <a:pt x="2224" y="561"/>
                  </a:lnTo>
                  <a:lnTo>
                    <a:pt x="2224" y="561"/>
                  </a:lnTo>
                  <a:lnTo>
                    <a:pt x="2247" y="561"/>
                  </a:lnTo>
                  <a:lnTo>
                    <a:pt x="2247" y="561"/>
                  </a:lnTo>
                  <a:lnTo>
                    <a:pt x="2297" y="561"/>
                  </a:lnTo>
                  <a:lnTo>
                    <a:pt x="2297" y="561"/>
                  </a:lnTo>
                  <a:lnTo>
                    <a:pt x="2309" y="561"/>
                  </a:lnTo>
                  <a:lnTo>
                    <a:pt x="2309" y="561"/>
                  </a:lnTo>
                  <a:lnTo>
                    <a:pt x="2320" y="561"/>
                  </a:lnTo>
                  <a:lnTo>
                    <a:pt x="2320" y="561"/>
                  </a:lnTo>
                  <a:lnTo>
                    <a:pt x="2325" y="561"/>
                  </a:lnTo>
                  <a:lnTo>
                    <a:pt x="2332" y="561"/>
                  </a:lnTo>
                  <a:lnTo>
                    <a:pt x="2332" y="561"/>
                  </a:lnTo>
                  <a:lnTo>
                    <a:pt x="2332" y="558"/>
                  </a:lnTo>
                  <a:lnTo>
                    <a:pt x="2332" y="554"/>
                  </a:lnTo>
                  <a:lnTo>
                    <a:pt x="2332" y="549"/>
                  </a:lnTo>
                  <a:lnTo>
                    <a:pt x="2332" y="549"/>
                  </a:lnTo>
                  <a:close/>
                </a:path>
              </a:pathLst>
            </a:custGeom>
            <a:solidFill>
              <a:schemeClr val="accent1">
                <a:alpha val="76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72"/>
            <p:cNvSpPr>
              <a:spLocks/>
            </p:cNvSpPr>
            <p:nvPr/>
          </p:nvSpPr>
          <p:spPr bwMode="auto">
            <a:xfrm>
              <a:off x="685800" y="3138663"/>
              <a:ext cx="3962400" cy="546100"/>
            </a:xfrm>
            <a:custGeom>
              <a:avLst/>
              <a:gdLst>
                <a:gd name="T0" fmla="*/ 2330 w 2366"/>
                <a:gd name="T1" fmla="*/ 106 h 344"/>
                <a:gd name="T2" fmla="*/ 2283 w 2366"/>
                <a:gd name="T3" fmla="*/ 58 h 344"/>
                <a:gd name="T4" fmla="*/ 2271 w 2366"/>
                <a:gd name="T5" fmla="*/ 11 h 344"/>
                <a:gd name="T6" fmla="*/ 2236 w 2366"/>
                <a:gd name="T7" fmla="*/ 23 h 344"/>
                <a:gd name="T8" fmla="*/ 2175 w 2366"/>
                <a:gd name="T9" fmla="*/ 58 h 344"/>
                <a:gd name="T10" fmla="*/ 2128 w 2366"/>
                <a:gd name="T11" fmla="*/ 188 h 344"/>
                <a:gd name="T12" fmla="*/ 2081 w 2366"/>
                <a:gd name="T13" fmla="*/ 165 h 344"/>
                <a:gd name="T14" fmla="*/ 2026 w 2366"/>
                <a:gd name="T15" fmla="*/ 188 h 344"/>
                <a:gd name="T16" fmla="*/ 1974 w 2366"/>
                <a:gd name="T17" fmla="*/ 188 h 344"/>
                <a:gd name="T18" fmla="*/ 1913 w 2366"/>
                <a:gd name="T19" fmla="*/ 200 h 344"/>
                <a:gd name="T20" fmla="*/ 1838 w 2366"/>
                <a:gd name="T21" fmla="*/ 153 h 344"/>
                <a:gd name="T22" fmla="*/ 1748 w 2366"/>
                <a:gd name="T23" fmla="*/ 129 h 344"/>
                <a:gd name="T24" fmla="*/ 1713 w 2366"/>
                <a:gd name="T25" fmla="*/ 141 h 344"/>
                <a:gd name="T26" fmla="*/ 1671 w 2366"/>
                <a:gd name="T27" fmla="*/ 82 h 344"/>
                <a:gd name="T28" fmla="*/ 1616 w 2366"/>
                <a:gd name="T29" fmla="*/ 106 h 344"/>
                <a:gd name="T30" fmla="*/ 1581 w 2366"/>
                <a:gd name="T31" fmla="*/ 108 h 344"/>
                <a:gd name="T32" fmla="*/ 1569 w 2366"/>
                <a:gd name="T33" fmla="*/ 165 h 344"/>
                <a:gd name="T34" fmla="*/ 1546 w 2366"/>
                <a:gd name="T35" fmla="*/ 160 h 344"/>
                <a:gd name="T36" fmla="*/ 1522 w 2366"/>
                <a:gd name="T37" fmla="*/ 117 h 344"/>
                <a:gd name="T38" fmla="*/ 1487 w 2366"/>
                <a:gd name="T39" fmla="*/ 63 h 344"/>
                <a:gd name="T40" fmla="*/ 1402 w 2366"/>
                <a:gd name="T41" fmla="*/ 47 h 344"/>
                <a:gd name="T42" fmla="*/ 1261 w 2366"/>
                <a:gd name="T43" fmla="*/ 188 h 344"/>
                <a:gd name="T44" fmla="*/ 1237 w 2366"/>
                <a:gd name="T45" fmla="*/ 249 h 344"/>
                <a:gd name="T46" fmla="*/ 1188 w 2366"/>
                <a:gd name="T47" fmla="*/ 249 h 344"/>
                <a:gd name="T48" fmla="*/ 1152 w 2366"/>
                <a:gd name="T49" fmla="*/ 235 h 344"/>
                <a:gd name="T50" fmla="*/ 1117 w 2366"/>
                <a:gd name="T51" fmla="*/ 261 h 344"/>
                <a:gd name="T52" fmla="*/ 1074 w 2366"/>
                <a:gd name="T53" fmla="*/ 285 h 344"/>
                <a:gd name="T54" fmla="*/ 961 w 2366"/>
                <a:gd name="T55" fmla="*/ 200 h 344"/>
                <a:gd name="T56" fmla="*/ 968 w 2366"/>
                <a:gd name="T57" fmla="*/ 285 h 344"/>
                <a:gd name="T58" fmla="*/ 902 w 2366"/>
                <a:gd name="T59" fmla="*/ 273 h 344"/>
                <a:gd name="T60" fmla="*/ 867 w 2366"/>
                <a:gd name="T61" fmla="*/ 261 h 344"/>
                <a:gd name="T62" fmla="*/ 832 w 2366"/>
                <a:gd name="T63" fmla="*/ 285 h 344"/>
                <a:gd name="T64" fmla="*/ 737 w 2366"/>
                <a:gd name="T65" fmla="*/ 235 h 344"/>
                <a:gd name="T66" fmla="*/ 653 w 2366"/>
                <a:gd name="T67" fmla="*/ 174 h 344"/>
                <a:gd name="T68" fmla="*/ 641 w 2366"/>
                <a:gd name="T69" fmla="*/ 261 h 344"/>
                <a:gd name="T70" fmla="*/ 558 w 2366"/>
                <a:gd name="T71" fmla="*/ 261 h 344"/>
                <a:gd name="T72" fmla="*/ 535 w 2366"/>
                <a:gd name="T73" fmla="*/ 261 h 344"/>
                <a:gd name="T74" fmla="*/ 481 w 2366"/>
                <a:gd name="T75" fmla="*/ 247 h 344"/>
                <a:gd name="T76" fmla="*/ 464 w 2366"/>
                <a:gd name="T77" fmla="*/ 242 h 344"/>
                <a:gd name="T78" fmla="*/ 426 w 2366"/>
                <a:gd name="T79" fmla="*/ 188 h 344"/>
                <a:gd name="T80" fmla="*/ 403 w 2366"/>
                <a:gd name="T81" fmla="*/ 129 h 344"/>
                <a:gd name="T82" fmla="*/ 379 w 2366"/>
                <a:gd name="T83" fmla="*/ 200 h 344"/>
                <a:gd name="T84" fmla="*/ 344 w 2366"/>
                <a:gd name="T85" fmla="*/ 261 h 344"/>
                <a:gd name="T86" fmla="*/ 297 w 2366"/>
                <a:gd name="T87" fmla="*/ 261 h 344"/>
                <a:gd name="T88" fmla="*/ 262 w 2366"/>
                <a:gd name="T89" fmla="*/ 266 h 344"/>
                <a:gd name="T90" fmla="*/ 196 w 2366"/>
                <a:gd name="T91" fmla="*/ 259 h 344"/>
                <a:gd name="T92" fmla="*/ 106 w 2366"/>
                <a:gd name="T93" fmla="*/ 249 h 344"/>
                <a:gd name="T94" fmla="*/ 64 w 2366"/>
                <a:gd name="T95" fmla="*/ 247 h 344"/>
                <a:gd name="T96" fmla="*/ 0 w 2366"/>
                <a:gd name="T97" fmla="*/ 320 h 344"/>
                <a:gd name="T98" fmla="*/ 177 w 2366"/>
                <a:gd name="T99" fmla="*/ 344 h 344"/>
                <a:gd name="T100" fmla="*/ 344 w 2366"/>
                <a:gd name="T101" fmla="*/ 344 h 344"/>
                <a:gd name="T102" fmla="*/ 558 w 2366"/>
                <a:gd name="T103" fmla="*/ 344 h 344"/>
                <a:gd name="T104" fmla="*/ 749 w 2366"/>
                <a:gd name="T105" fmla="*/ 344 h 344"/>
                <a:gd name="T106" fmla="*/ 902 w 2366"/>
                <a:gd name="T107" fmla="*/ 344 h 344"/>
                <a:gd name="T108" fmla="*/ 1093 w 2366"/>
                <a:gd name="T109" fmla="*/ 344 h 344"/>
                <a:gd name="T110" fmla="*/ 1272 w 2366"/>
                <a:gd name="T111" fmla="*/ 344 h 344"/>
                <a:gd name="T112" fmla="*/ 1437 w 2366"/>
                <a:gd name="T113" fmla="*/ 344 h 344"/>
                <a:gd name="T114" fmla="*/ 1616 w 2366"/>
                <a:gd name="T115" fmla="*/ 344 h 344"/>
                <a:gd name="T116" fmla="*/ 1807 w 2366"/>
                <a:gd name="T117" fmla="*/ 344 h 344"/>
                <a:gd name="T118" fmla="*/ 1998 w 2366"/>
                <a:gd name="T119" fmla="*/ 344 h 344"/>
                <a:gd name="T120" fmla="*/ 2163 w 2366"/>
                <a:gd name="T121" fmla="*/ 34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366" h="344">
                  <a:moveTo>
                    <a:pt x="2366" y="82"/>
                  </a:moveTo>
                  <a:lnTo>
                    <a:pt x="2366" y="82"/>
                  </a:lnTo>
                  <a:lnTo>
                    <a:pt x="2366" y="82"/>
                  </a:lnTo>
                  <a:lnTo>
                    <a:pt x="2361" y="82"/>
                  </a:lnTo>
                  <a:lnTo>
                    <a:pt x="2354" y="82"/>
                  </a:lnTo>
                  <a:lnTo>
                    <a:pt x="2354" y="82"/>
                  </a:lnTo>
                  <a:lnTo>
                    <a:pt x="2354" y="87"/>
                  </a:lnTo>
                  <a:lnTo>
                    <a:pt x="2354" y="94"/>
                  </a:lnTo>
                  <a:lnTo>
                    <a:pt x="2354" y="94"/>
                  </a:lnTo>
                  <a:lnTo>
                    <a:pt x="2349" y="94"/>
                  </a:lnTo>
                  <a:lnTo>
                    <a:pt x="2342" y="94"/>
                  </a:lnTo>
                  <a:lnTo>
                    <a:pt x="2342" y="94"/>
                  </a:lnTo>
                  <a:lnTo>
                    <a:pt x="2337" y="94"/>
                  </a:lnTo>
                  <a:lnTo>
                    <a:pt x="2330" y="94"/>
                  </a:lnTo>
                  <a:lnTo>
                    <a:pt x="2330" y="94"/>
                  </a:lnTo>
                  <a:lnTo>
                    <a:pt x="2330" y="99"/>
                  </a:lnTo>
                  <a:lnTo>
                    <a:pt x="2330" y="106"/>
                  </a:lnTo>
                  <a:lnTo>
                    <a:pt x="2330" y="106"/>
                  </a:lnTo>
                  <a:lnTo>
                    <a:pt x="2328" y="106"/>
                  </a:lnTo>
                  <a:lnTo>
                    <a:pt x="2326" y="106"/>
                  </a:lnTo>
                  <a:lnTo>
                    <a:pt x="2318" y="106"/>
                  </a:lnTo>
                  <a:lnTo>
                    <a:pt x="2318" y="106"/>
                  </a:lnTo>
                  <a:lnTo>
                    <a:pt x="2318" y="94"/>
                  </a:lnTo>
                  <a:lnTo>
                    <a:pt x="2318" y="94"/>
                  </a:lnTo>
                  <a:lnTo>
                    <a:pt x="2318" y="82"/>
                  </a:lnTo>
                  <a:lnTo>
                    <a:pt x="2318" y="82"/>
                  </a:lnTo>
                  <a:lnTo>
                    <a:pt x="2318" y="75"/>
                  </a:lnTo>
                  <a:lnTo>
                    <a:pt x="2318" y="70"/>
                  </a:lnTo>
                  <a:lnTo>
                    <a:pt x="2318" y="70"/>
                  </a:lnTo>
                  <a:lnTo>
                    <a:pt x="2316" y="70"/>
                  </a:lnTo>
                  <a:lnTo>
                    <a:pt x="2314" y="70"/>
                  </a:lnTo>
                  <a:lnTo>
                    <a:pt x="2307" y="70"/>
                  </a:lnTo>
                  <a:lnTo>
                    <a:pt x="2307" y="70"/>
                  </a:lnTo>
                  <a:lnTo>
                    <a:pt x="2283" y="70"/>
                  </a:lnTo>
                  <a:lnTo>
                    <a:pt x="2283" y="70"/>
                  </a:lnTo>
                  <a:lnTo>
                    <a:pt x="2283" y="58"/>
                  </a:lnTo>
                  <a:lnTo>
                    <a:pt x="2283" y="58"/>
                  </a:lnTo>
                  <a:lnTo>
                    <a:pt x="2283" y="47"/>
                  </a:lnTo>
                  <a:lnTo>
                    <a:pt x="2283" y="47"/>
                  </a:lnTo>
                  <a:lnTo>
                    <a:pt x="2283" y="35"/>
                  </a:lnTo>
                  <a:lnTo>
                    <a:pt x="2283" y="35"/>
                  </a:lnTo>
                  <a:lnTo>
                    <a:pt x="2283" y="28"/>
                  </a:lnTo>
                  <a:lnTo>
                    <a:pt x="2283" y="23"/>
                  </a:lnTo>
                  <a:lnTo>
                    <a:pt x="2283" y="23"/>
                  </a:lnTo>
                  <a:lnTo>
                    <a:pt x="2281" y="21"/>
                  </a:lnTo>
                  <a:lnTo>
                    <a:pt x="2276" y="23"/>
                  </a:lnTo>
                  <a:lnTo>
                    <a:pt x="2274" y="23"/>
                  </a:lnTo>
                  <a:lnTo>
                    <a:pt x="2271" y="23"/>
                  </a:lnTo>
                  <a:lnTo>
                    <a:pt x="2271" y="23"/>
                  </a:lnTo>
                  <a:lnTo>
                    <a:pt x="2271" y="21"/>
                  </a:lnTo>
                  <a:lnTo>
                    <a:pt x="2271" y="16"/>
                  </a:lnTo>
                  <a:lnTo>
                    <a:pt x="2271" y="14"/>
                  </a:lnTo>
                  <a:lnTo>
                    <a:pt x="2271" y="11"/>
                  </a:lnTo>
                  <a:lnTo>
                    <a:pt x="2271" y="11"/>
                  </a:lnTo>
                  <a:lnTo>
                    <a:pt x="2269" y="9"/>
                  </a:lnTo>
                  <a:lnTo>
                    <a:pt x="2264" y="9"/>
                  </a:lnTo>
                  <a:lnTo>
                    <a:pt x="2260" y="11"/>
                  </a:lnTo>
                  <a:lnTo>
                    <a:pt x="2260" y="11"/>
                  </a:lnTo>
                  <a:lnTo>
                    <a:pt x="2260" y="4"/>
                  </a:lnTo>
                  <a:lnTo>
                    <a:pt x="2260" y="2"/>
                  </a:lnTo>
                  <a:lnTo>
                    <a:pt x="2260" y="0"/>
                  </a:lnTo>
                  <a:lnTo>
                    <a:pt x="2260" y="0"/>
                  </a:lnTo>
                  <a:lnTo>
                    <a:pt x="2248" y="0"/>
                  </a:lnTo>
                  <a:lnTo>
                    <a:pt x="2248" y="0"/>
                  </a:lnTo>
                  <a:lnTo>
                    <a:pt x="2248" y="11"/>
                  </a:lnTo>
                  <a:lnTo>
                    <a:pt x="2248" y="11"/>
                  </a:lnTo>
                  <a:lnTo>
                    <a:pt x="2248" y="16"/>
                  </a:lnTo>
                  <a:lnTo>
                    <a:pt x="2248" y="23"/>
                  </a:lnTo>
                  <a:lnTo>
                    <a:pt x="2248" y="23"/>
                  </a:lnTo>
                  <a:lnTo>
                    <a:pt x="2241" y="23"/>
                  </a:lnTo>
                  <a:lnTo>
                    <a:pt x="2236" y="23"/>
                  </a:lnTo>
                  <a:lnTo>
                    <a:pt x="2236" y="23"/>
                  </a:lnTo>
                  <a:lnTo>
                    <a:pt x="2236" y="28"/>
                  </a:lnTo>
                  <a:lnTo>
                    <a:pt x="2236" y="35"/>
                  </a:lnTo>
                  <a:lnTo>
                    <a:pt x="2236" y="35"/>
                  </a:lnTo>
                  <a:lnTo>
                    <a:pt x="2229" y="35"/>
                  </a:lnTo>
                  <a:lnTo>
                    <a:pt x="2224" y="35"/>
                  </a:lnTo>
                  <a:lnTo>
                    <a:pt x="2224" y="35"/>
                  </a:lnTo>
                  <a:lnTo>
                    <a:pt x="2222" y="40"/>
                  </a:lnTo>
                  <a:lnTo>
                    <a:pt x="2224" y="47"/>
                  </a:lnTo>
                  <a:lnTo>
                    <a:pt x="2224" y="47"/>
                  </a:lnTo>
                  <a:lnTo>
                    <a:pt x="2224" y="58"/>
                  </a:lnTo>
                  <a:lnTo>
                    <a:pt x="2224" y="58"/>
                  </a:lnTo>
                  <a:lnTo>
                    <a:pt x="2212" y="58"/>
                  </a:lnTo>
                  <a:lnTo>
                    <a:pt x="2212" y="58"/>
                  </a:lnTo>
                  <a:lnTo>
                    <a:pt x="2201" y="58"/>
                  </a:lnTo>
                  <a:lnTo>
                    <a:pt x="2201" y="58"/>
                  </a:lnTo>
                  <a:lnTo>
                    <a:pt x="2187" y="58"/>
                  </a:lnTo>
                  <a:lnTo>
                    <a:pt x="2187" y="58"/>
                  </a:lnTo>
                  <a:lnTo>
                    <a:pt x="2175" y="58"/>
                  </a:lnTo>
                  <a:lnTo>
                    <a:pt x="2175" y="58"/>
                  </a:lnTo>
                  <a:lnTo>
                    <a:pt x="2170" y="58"/>
                  </a:lnTo>
                  <a:lnTo>
                    <a:pt x="2163" y="58"/>
                  </a:lnTo>
                  <a:lnTo>
                    <a:pt x="2163" y="58"/>
                  </a:lnTo>
                  <a:lnTo>
                    <a:pt x="2163" y="63"/>
                  </a:lnTo>
                  <a:lnTo>
                    <a:pt x="2163" y="70"/>
                  </a:lnTo>
                  <a:lnTo>
                    <a:pt x="2163" y="70"/>
                  </a:lnTo>
                  <a:lnTo>
                    <a:pt x="2161" y="70"/>
                  </a:lnTo>
                  <a:lnTo>
                    <a:pt x="2158" y="70"/>
                  </a:lnTo>
                  <a:lnTo>
                    <a:pt x="2151" y="70"/>
                  </a:lnTo>
                  <a:lnTo>
                    <a:pt x="2151" y="70"/>
                  </a:lnTo>
                  <a:lnTo>
                    <a:pt x="2128" y="70"/>
                  </a:lnTo>
                  <a:lnTo>
                    <a:pt x="2128" y="70"/>
                  </a:lnTo>
                  <a:lnTo>
                    <a:pt x="2128" y="94"/>
                  </a:lnTo>
                  <a:lnTo>
                    <a:pt x="2128" y="94"/>
                  </a:lnTo>
                  <a:lnTo>
                    <a:pt x="2128" y="141"/>
                  </a:lnTo>
                  <a:lnTo>
                    <a:pt x="2128" y="141"/>
                  </a:lnTo>
                  <a:lnTo>
                    <a:pt x="2128" y="188"/>
                  </a:lnTo>
                  <a:lnTo>
                    <a:pt x="2128" y="188"/>
                  </a:lnTo>
                  <a:lnTo>
                    <a:pt x="2123" y="188"/>
                  </a:lnTo>
                  <a:lnTo>
                    <a:pt x="2116" y="188"/>
                  </a:lnTo>
                  <a:lnTo>
                    <a:pt x="2116" y="188"/>
                  </a:lnTo>
                  <a:lnTo>
                    <a:pt x="2116" y="183"/>
                  </a:lnTo>
                  <a:lnTo>
                    <a:pt x="2116" y="176"/>
                  </a:lnTo>
                  <a:lnTo>
                    <a:pt x="2116" y="176"/>
                  </a:lnTo>
                  <a:lnTo>
                    <a:pt x="2116" y="172"/>
                  </a:lnTo>
                  <a:lnTo>
                    <a:pt x="2116" y="165"/>
                  </a:lnTo>
                  <a:lnTo>
                    <a:pt x="2116" y="165"/>
                  </a:lnTo>
                  <a:lnTo>
                    <a:pt x="2111" y="165"/>
                  </a:lnTo>
                  <a:lnTo>
                    <a:pt x="2104" y="165"/>
                  </a:lnTo>
                  <a:lnTo>
                    <a:pt x="2104" y="165"/>
                  </a:lnTo>
                  <a:lnTo>
                    <a:pt x="2099" y="165"/>
                  </a:lnTo>
                  <a:lnTo>
                    <a:pt x="2092" y="165"/>
                  </a:lnTo>
                  <a:lnTo>
                    <a:pt x="2092" y="165"/>
                  </a:lnTo>
                  <a:lnTo>
                    <a:pt x="2081" y="165"/>
                  </a:lnTo>
                  <a:lnTo>
                    <a:pt x="2081" y="165"/>
                  </a:lnTo>
                  <a:lnTo>
                    <a:pt x="2057" y="165"/>
                  </a:lnTo>
                  <a:lnTo>
                    <a:pt x="2057" y="165"/>
                  </a:lnTo>
                  <a:lnTo>
                    <a:pt x="2050" y="165"/>
                  </a:lnTo>
                  <a:lnTo>
                    <a:pt x="2048" y="165"/>
                  </a:lnTo>
                  <a:lnTo>
                    <a:pt x="2045" y="165"/>
                  </a:lnTo>
                  <a:lnTo>
                    <a:pt x="2045" y="165"/>
                  </a:lnTo>
                  <a:lnTo>
                    <a:pt x="2045" y="167"/>
                  </a:lnTo>
                  <a:lnTo>
                    <a:pt x="2045" y="172"/>
                  </a:lnTo>
                  <a:lnTo>
                    <a:pt x="2045" y="176"/>
                  </a:lnTo>
                  <a:lnTo>
                    <a:pt x="2045" y="176"/>
                  </a:lnTo>
                  <a:lnTo>
                    <a:pt x="2045" y="183"/>
                  </a:lnTo>
                  <a:lnTo>
                    <a:pt x="2045" y="186"/>
                  </a:lnTo>
                  <a:lnTo>
                    <a:pt x="2045" y="188"/>
                  </a:lnTo>
                  <a:lnTo>
                    <a:pt x="2045" y="188"/>
                  </a:lnTo>
                  <a:lnTo>
                    <a:pt x="2038" y="188"/>
                  </a:lnTo>
                  <a:lnTo>
                    <a:pt x="2033" y="188"/>
                  </a:lnTo>
                  <a:lnTo>
                    <a:pt x="2033" y="188"/>
                  </a:lnTo>
                  <a:lnTo>
                    <a:pt x="2026" y="188"/>
                  </a:lnTo>
                  <a:lnTo>
                    <a:pt x="2022" y="188"/>
                  </a:lnTo>
                  <a:lnTo>
                    <a:pt x="2022" y="188"/>
                  </a:lnTo>
                  <a:lnTo>
                    <a:pt x="2022" y="186"/>
                  </a:lnTo>
                  <a:lnTo>
                    <a:pt x="2022" y="183"/>
                  </a:lnTo>
                  <a:lnTo>
                    <a:pt x="2022" y="176"/>
                  </a:lnTo>
                  <a:lnTo>
                    <a:pt x="2022" y="176"/>
                  </a:lnTo>
                  <a:lnTo>
                    <a:pt x="1998" y="176"/>
                  </a:lnTo>
                  <a:lnTo>
                    <a:pt x="1998" y="176"/>
                  </a:lnTo>
                  <a:lnTo>
                    <a:pt x="1998" y="200"/>
                  </a:lnTo>
                  <a:lnTo>
                    <a:pt x="1998" y="200"/>
                  </a:lnTo>
                  <a:lnTo>
                    <a:pt x="1986" y="200"/>
                  </a:lnTo>
                  <a:lnTo>
                    <a:pt x="1986" y="200"/>
                  </a:lnTo>
                  <a:lnTo>
                    <a:pt x="1979" y="200"/>
                  </a:lnTo>
                  <a:lnTo>
                    <a:pt x="1974" y="200"/>
                  </a:lnTo>
                  <a:lnTo>
                    <a:pt x="1974" y="200"/>
                  </a:lnTo>
                  <a:lnTo>
                    <a:pt x="1972" y="198"/>
                  </a:lnTo>
                  <a:lnTo>
                    <a:pt x="1974" y="195"/>
                  </a:lnTo>
                  <a:lnTo>
                    <a:pt x="1974" y="188"/>
                  </a:lnTo>
                  <a:lnTo>
                    <a:pt x="1974" y="188"/>
                  </a:lnTo>
                  <a:lnTo>
                    <a:pt x="1951" y="188"/>
                  </a:lnTo>
                  <a:lnTo>
                    <a:pt x="1951" y="188"/>
                  </a:lnTo>
                  <a:lnTo>
                    <a:pt x="1951" y="200"/>
                  </a:lnTo>
                  <a:lnTo>
                    <a:pt x="1951" y="200"/>
                  </a:lnTo>
                  <a:lnTo>
                    <a:pt x="1951" y="207"/>
                  </a:lnTo>
                  <a:lnTo>
                    <a:pt x="1951" y="212"/>
                  </a:lnTo>
                  <a:lnTo>
                    <a:pt x="1951" y="212"/>
                  </a:lnTo>
                  <a:lnTo>
                    <a:pt x="1944" y="214"/>
                  </a:lnTo>
                  <a:lnTo>
                    <a:pt x="1937" y="212"/>
                  </a:lnTo>
                  <a:lnTo>
                    <a:pt x="1937" y="212"/>
                  </a:lnTo>
                  <a:lnTo>
                    <a:pt x="1937" y="200"/>
                  </a:lnTo>
                  <a:lnTo>
                    <a:pt x="1937" y="200"/>
                  </a:lnTo>
                  <a:lnTo>
                    <a:pt x="1932" y="200"/>
                  </a:lnTo>
                  <a:lnTo>
                    <a:pt x="1925" y="200"/>
                  </a:lnTo>
                  <a:lnTo>
                    <a:pt x="1925" y="200"/>
                  </a:lnTo>
                  <a:lnTo>
                    <a:pt x="1913" y="200"/>
                  </a:lnTo>
                  <a:lnTo>
                    <a:pt x="1913" y="200"/>
                  </a:lnTo>
                  <a:lnTo>
                    <a:pt x="1901" y="200"/>
                  </a:lnTo>
                  <a:lnTo>
                    <a:pt x="1901" y="200"/>
                  </a:lnTo>
                  <a:lnTo>
                    <a:pt x="1890" y="200"/>
                  </a:lnTo>
                  <a:lnTo>
                    <a:pt x="1890" y="200"/>
                  </a:lnTo>
                  <a:lnTo>
                    <a:pt x="1866" y="200"/>
                  </a:lnTo>
                  <a:lnTo>
                    <a:pt x="1866" y="200"/>
                  </a:lnTo>
                  <a:lnTo>
                    <a:pt x="1843" y="200"/>
                  </a:lnTo>
                  <a:lnTo>
                    <a:pt x="1843" y="200"/>
                  </a:lnTo>
                  <a:lnTo>
                    <a:pt x="1843" y="188"/>
                  </a:lnTo>
                  <a:lnTo>
                    <a:pt x="1843" y="188"/>
                  </a:lnTo>
                  <a:lnTo>
                    <a:pt x="1843" y="176"/>
                  </a:lnTo>
                  <a:lnTo>
                    <a:pt x="1843" y="176"/>
                  </a:lnTo>
                  <a:lnTo>
                    <a:pt x="1843" y="165"/>
                  </a:lnTo>
                  <a:lnTo>
                    <a:pt x="1843" y="165"/>
                  </a:lnTo>
                  <a:lnTo>
                    <a:pt x="1843" y="160"/>
                  </a:lnTo>
                  <a:lnTo>
                    <a:pt x="1843" y="153"/>
                  </a:lnTo>
                  <a:lnTo>
                    <a:pt x="1843" y="153"/>
                  </a:lnTo>
                  <a:lnTo>
                    <a:pt x="1838" y="153"/>
                  </a:lnTo>
                  <a:lnTo>
                    <a:pt x="1831" y="153"/>
                  </a:lnTo>
                  <a:lnTo>
                    <a:pt x="1831" y="153"/>
                  </a:lnTo>
                  <a:lnTo>
                    <a:pt x="1831" y="150"/>
                  </a:lnTo>
                  <a:lnTo>
                    <a:pt x="1831" y="148"/>
                  </a:lnTo>
                  <a:lnTo>
                    <a:pt x="1831" y="141"/>
                  </a:lnTo>
                  <a:lnTo>
                    <a:pt x="1831" y="141"/>
                  </a:lnTo>
                  <a:lnTo>
                    <a:pt x="1784" y="141"/>
                  </a:lnTo>
                  <a:lnTo>
                    <a:pt x="1784" y="141"/>
                  </a:lnTo>
                  <a:lnTo>
                    <a:pt x="1784" y="136"/>
                  </a:lnTo>
                  <a:lnTo>
                    <a:pt x="1784" y="132"/>
                  </a:lnTo>
                  <a:lnTo>
                    <a:pt x="1784" y="129"/>
                  </a:lnTo>
                  <a:lnTo>
                    <a:pt x="1784" y="129"/>
                  </a:lnTo>
                  <a:lnTo>
                    <a:pt x="1772" y="129"/>
                  </a:lnTo>
                  <a:lnTo>
                    <a:pt x="1772" y="129"/>
                  </a:lnTo>
                  <a:lnTo>
                    <a:pt x="1760" y="129"/>
                  </a:lnTo>
                  <a:lnTo>
                    <a:pt x="1760" y="129"/>
                  </a:lnTo>
                  <a:lnTo>
                    <a:pt x="1748" y="129"/>
                  </a:lnTo>
                  <a:lnTo>
                    <a:pt x="1748" y="129"/>
                  </a:lnTo>
                  <a:lnTo>
                    <a:pt x="1748" y="136"/>
                  </a:lnTo>
                  <a:lnTo>
                    <a:pt x="1748" y="139"/>
                  </a:lnTo>
                  <a:lnTo>
                    <a:pt x="1748" y="141"/>
                  </a:lnTo>
                  <a:lnTo>
                    <a:pt x="1748" y="141"/>
                  </a:lnTo>
                  <a:lnTo>
                    <a:pt x="1741" y="141"/>
                  </a:lnTo>
                  <a:lnTo>
                    <a:pt x="1737" y="141"/>
                  </a:lnTo>
                  <a:lnTo>
                    <a:pt x="1737" y="141"/>
                  </a:lnTo>
                  <a:lnTo>
                    <a:pt x="1734" y="148"/>
                  </a:lnTo>
                  <a:lnTo>
                    <a:pt x="1737" y="153"/>
                  </a:lnTo>
                  <a:lnTo>
                    <a:pt x="1737" y="153"/>
                  </a:lnTo>
                  <a:lnTo>
                    <a:pt x="1737" y="176"/>
                  </a:lnTo>
                  <a:lnTo>
                    <a:pt x="1737" y="176"/>
                  </a:lnTo>
                  <a:lnTo>
                    <a:pt x="1713" y="176"/>
                  </a:lnTo>
                  <a:lnTo>
                    <a:pt x="1713" y="176"/>
                  </a:lnTo>
                  <a:lnTo>
                    <a:pt x="1713" y="153"/>
                  </a:lnTo>
                  <a:lnTo>
                    <a:pt x="1713" y="153"/>
                  </a:lnTo>
                  <a:lnTo>
                    <a:pt x="1713" y="141"/>
                  </a:lnTo>
                  <a:lnTo>
                    <a:pt x="1713" y="141"/>
                  </a:lnTo>
                  <a:lnTo>
                    <a:pt x="1713" y="129"/>
                  </a:lnTo>
                  <a:lnTo>
                    <a:pt x="1713" y="129"/>
                  </a:lnTo>
                  <a:lnTo>
                    <a:pt x="1713" y="122"/>
                  </a:lnTo>
                  <a:lnTo>
                    <a:pt x="1713" y="117"/>
                  </a:lnTo>
                  <a:lnTo>
                    <a:pt x="1713" y="117"/>
                  </a:lnTo>
                  <a:lnTo>
                    <a:pt x="1713" y="110"/>
                  </a:lnTo>
                  <a:lnTo>
                    <a:pt x="1713" y="106"/>
                  </a:lnTo>
                  <a:lnTo>
                    <a:pt x="1713" y="106"/>
                  </a:lnTo>
                  <a:lnTo>
                    <a:pt x="1706" y="106"/>
                  </a:lnTo>
                  <a:lnTo>
                    <a:pt x="1699" y="106"/>
                  </a:lnTo>
                  <a:lnTo>
                    <a:pt x="1699" y="106"/>
                  </a:lnTo>
                  <a:lnTo>
                    <a:pt x="1687" y="106"/>
                  </a:lnTo>
                  <a:lnTo>
                    <a:pt x="1687" y="106"/>
                  </a:lnTo>
                  <a:lnTo>
                    <a:pt x="1687" y="82"/>
                  </a:lnTo>
                  <a:lnTo>
                    <a:pt x="1687" y="82"/>
                  </a:lnTo>
                  <a:lnTo>
                    <a:pt x="1675" y="82"/>
                  </a:lnTo>
                  <a:lnTo>
                    <a:pt x="1675" y="82"/>
                  </a:lnTo>
                  <a:lnTo>
                    <a:pt x="1671" y="82"/>
                  </a:lnTo>
                  <a:lnTo>
                    <a:pt x="1663" y="82"/>
                  </a:lnTo>
                  <a:lnTo>
                    <a:pt x="1663" y="82"/>
                  </a:lnTo>
                  <a:lnTo>
                    <a:pt x="1663" y="87"/>
                  </a:lnTo>
                  <a:lnTo>
                    <a:pt x="1666" y="91"/>
                  </a:lnTo>
                  <a:lnTo>
                    <a:pt x="1663" y="94"/>
                  </a:lnTo>
                  <a:lnTo>
                    <a:pt x="1663" y="94"/>
                  </a:lnTo>
                  <a:lnTo>
                    <a:pt x="1663" y="99"/>
                  </a:lnTo>
                  <a:lnTo>
                    <a:pt x="1663" y="106"/>
                  </a:lnTo>
                  <a:lnTo>
                    <a:pt x="1663" y="106"/>
                  </a:lnTo>
                  <a:lnTo>
                    <a:pt x="1659" y="106"/>
                  </a:lnTo>
                  <a:lnTo>
                    <a:pt x="1652" y="106"/>
                  </a:lnTo>
                  <a:lnTo>
                    <a:pt x="1652" y="106"/>
                  </a:lnTo>
                  <a:lnTo>
                    <a:pt x="1640" y="106"/>
                  </a:lnTo>
                  <a:lnTo>
                    <a:pt x="1640" y="106"/>
                  </a:lnTo>
                  <a:lnTo>
                    <a:pt x="1628" y="106"/>
                  </a:lnTo>
                  <a:lnTo>
                    <a:pt x="1628" y="106"/>
                  </a:lnTo>
                  <a:lnTo>
                    <a:pt x="1623" y="106"/>
                  </a:lnTo>
                  <a:lnTo>
                    <a:pt x="1616" y="106"/>
                  </a:lnTo>
                  <a:lnTo>
                    <a:pt x="1616" y="106"/>
                  </a:lnTo>
                  <a:lnTo>
                    <a:pt x="1616" y="101"/>
                  </a:lnTo>
                  <a:lnTo>
                    <a:pt x="1616" y="94"/>
                  </a:lnTo>
                  <a:lnTo>
                    <a:pt x="1616" y="94"/>
                  </a:lnTo>
                  <a:lnTo>
                    <a:pt x="1612" y="94"/>
                  </a:lnTo>
                  <a:lnTo>
                    <a:pt x="1605" y="94"/>
                  </a:lnTo>
                  <a:lnTo>
                    <a:pt x="1605" y="94"/>
                  </a:lnTo>
                  <a:lnTo>
                    <a:pt x="1600" y="94"/>
                  </a:lnTo>
                  <a:lnTo>
                    <a:pt x="1593" y="94"/>
                  </a:lnTo>
                  <a:lnTo>
                    <a:pt x="1593" y="94"/>
                  </a:lnTo>
                  <a:lnTo>
                    <a:pt x="1593" y="99"/>
                  </a:lnTo>
                  <a:lnTo>
                    <a:pt x="1593" y="106"/>
                  </a:lnTo>
                  <a:lnTo>
                    <a:pt x="1593" y="106"/>
                  </a:lnTo>
                  <a:lnTo>
                    <a:pt x="1586" y="106"/>
                  </a:lnTo>
                  <a:lnTo>
                    <a:pt x="1583" y="106"/>
                  </a:lnTo>
                  <a:lnTo>
                    <a:pt x="1581" y="106"/>
                  </a:lnTo>
                  <a:lnTo>
                    <a:pt x="1581" y="106"/>
                  </a:lnTo>
                  <a:lnTo>
                    <a:pt x="1581" y="108"/>
                  </a:lnTo>
                  <a:lnTo>
                    <a:pt x="1581" y="110"/>
                  </a:lnTo>
                  <a:lnTo>
                    <a:pt x="1581" y="117"/>
                  </a:lnTo>
                  <a:lnTo>
                    <a:pt x="1581" y="117"/>
                  </a:lnTo>
                  <a:lnTo>
                    <a:pt x="1581" y="124"/>
                  </a:lnTo>
                  <a:lnTo>
                    <a:pt x="1581" y="129"/>
                  </a:lnTo>
                  <a:lnTo>
                    <a:pt x="1581" y="129"/>
                  </a:lnTo>
                  <a:lnTo>
                    <a:pt x="1576" y="129"/>
                  </a:lnTo>
                  <a:lnTo>
                    <a:pt x="1569" y="129"/>
                  </a:lnTo>
                  <a:lnTo>
                    <a:pt x="1569" y="129"/>
                  </a:lnTo>
                  <a:lnTo>
                    <a:pt x="1569" y="134"/>
                  </a:lnTo>
                  <a:lnTo>
                    <a:pt x="1569" y="141"/>
                  </a:lnTo>
                  <a:lnTo>
                    <a:pt x="1569" y="141"/>
                  </a:lnTo>
                  <a:lnTo>
                    <a:pt x="1569" y="148"/>
                  </a:lnTo>
                  <a:lnTo>
                    <a:pt x="1569" y="153"/>
                  </a:lnTo>
                  <a:lnTo>
                    <a:pt x="1569" y="153"/>
                  </a:lnTo>
                  <a:lnTo>
                    <a:pt x="1569" y="160"/>
                  </a:lnTo>
                  <a:lnTo>
                    <a:pt x="1569" y="165"/>
                  </a:lnTo>
                  <a:lnTo>
                    <a:pt x="1569" y="165"/>
                  </a:lnTo>
                  <a:lnTo>
                    <a:pt x="1565" y="165"/>
                  </a:lnTo>
                  <a:lnTo>
                    <a:pt x="1557" y="165"/>
                  </a:lnTo>
                  <a:lnTo>
                    <a:pt x="1557" y="165"/>
                  </a:lnTo>
                  <a:lnTo>
                    <a:pt x="1557" y="172"/>
                  </a:lnTo>
                  <a:lnTo>
                    <a:pt x="1557" y="176"/>
                  </a:lnTo>
                  <a:lnTo>
                    <a:pt x="1557" y="176"/>
                  </a:lnTo>
                  <a:lnTo>
                    <a:pt x="1557" y="188"/>
                  </a:lnTo>
                  <a:lnTo>
                    <a:pt x="1557" y="188"/>
                  </a:lnTo>
                  <a:lnTo>
                    <a:pt x="1550" y="188"/>
                  </a:lnTo>
                  <a:lnTo>
                    <a:pt x="1548" y="190"/>
                  </a:lnTo>
                  <a:lnTo>
                    <a:pt x="1546" y="188"/>
                  </a:lnTo>
                  <a:lnTo>
                    <a:pt x="1546" y="188"/>
                  </a:lnTo>
                  <a:lnTo>
                    <a:pt x="1546" y="183"/>
                  </a:lnTo>
                  <a:lnTo>
                    <a:pt x="1546" y="176"/>
                  </a:lnTo>
                  <a:lnTo>
                    <a:pt x="1546" y="176"/>
                  </a:lnTo>
                  <a:lnTo>
                    <a:pt x="1546" y="165"/>
                  </a:lnTo>
                  <a:lnTo>
                    <a:pt x="1546" y="165"/>
                  </a:lnTo>
                  <a:lnTo>
                    <a:pt x="1546" y="160"/>
                  </a:lnTo>
                  <a:lnTo>
                    <a:pt x="1546" y="153"/>
                  </a:lnTo>
                  <a:lnTo>
                    <a:pt x="1546" y="153"/>
                  </a:lnTo>
                  <a:lnTo>
                    <a:pt x="1539" y="153"/>
                  </a:lnTo>
                  <a:lnTo>
                    <a:pt x="1534" y="153"/>
                  </a:lnTo>
                  <a:lnTo>
                    <a:pt x="1534" y="153"/>
                  </a:lnTo>
                  <a:lnTo>
                    <a:pt x="1534" y="148"/>
                  </a:lnTo>
                  <a:lnTo>
                    <a:pt x="1534" y="141"/>
                  </a:lnTo>
                  <a:lnTo>
                    <a:pt x="1534" y="141"/>
                  </a:lnTo>
                  <a:lnTo>
                    <a:pt x="1534" y="136"/>
                  </a:lnTo>
                  <a:lnTo>
                    <a:pt x="1534" y="129"/>
                  </a:lnTo>
                  <a:lnTo>
                    <a:pt x="1534" y="129"/>
                  </a:lnTo>
                  <a:lnTo>
                    <a:pt x="1532" y="129"/>
                  </a:lnTo>
                  <a:lnTo>
                    <a:pt x="1527" y="129"/>
                  </a:lnTo>
                  <a:lnTo>
                    <a:pt x="1522" y="129"/>
                  </a:lnTo>
                  <a:lnTo>
                    <a:pt x="1522" y="129"/>
                  </a:lnTo>
                  <a:lnTo>
                    <a:pt x="1520" y="127"/>
                  </a:lnTo>
                  <a:lnTo>
                    <a:pt x="1522" y="124"/>
                  </a:lnTo>
                  <a:lnTo>
                    <a:pt x="1522" y="117"/>
                  </a:lnTo>
                  <a:lnTo>
                    <a:pt x="1522" y="117"/>
                  </a:lnTo>
                  <a:lnTo>
                    <a:pt x="1522" y="94"/>
                  </a:lnTo>
                  <a:lnTo>
                    <a:pt x="1522" y="94"/>
                  </a:lnTo>
                  <a:lnTo>
                    <a:pt x="1510" y="94"/>
                  </a:lnTo>
                  <a:lnTo>
                    <a:pt x="1510" y="94"/>
                  </a:lnTo>
                  <a:lnTo>
                    <a:pt x="1503" y="94"/>
                  </a:lnTo>
                  <a:lnTo>
                    <a:pt x="1499" y="94"/>
                  </a:lnTo>
                  <a:lnTo>
                    <a:pt x="1499" y="94"/>
                  </a:lnTo>
                  <a:lnTo>
                    <a:pt x="1496" y="87"/>
                  </a:lnTo>
                  <a:lnTo>
                    <a:pt x="1499" y="82"/>
                  </a:lnTo>
                  <a:lnTo>
                    <a:pt x="1499" y="82"/>
                  </a:lnTo>
                  <a:lnTo>
                    <a:pt x="1499" y="70"/>
                  </a:lnTo>
                  <a:lnTo>
                    <a:pt x="1499" y="70"/>
                  </a:lnTo>
                  <a:lnTo>
                    <a:pt x="1491" y="70"/>
                  </a:lnTo>
                  <a:lnTo>
                    <a:pt x="1489" y="70"/>
                  </a:lnTo>
                  <a:lnTo>
                    <a:pt x="1487" y="70"/>
                  </a:lnTo>
                  <a:lnTo>
                    <a:pt x="1487" y="70"/>
                  </a:lnTo>
                  <a:lnTo>
                    <a:pt x="1487" y="63"/>
                  </a:lnTo>
                  <a:lnTo>
                    <a:pt x="1487" y="58"/>
                  </a:lnTo>
                  <a:lnTo>
                    <a:pt x="1487" y="58"/>
                  </a:lnTo>
                  <a:lnTo>
                    <a:pt x="1480" y="58"/>
                  </a:lnTo>
                  <a:lnTo>
                    <a:pt x="1475" y="58"/>
                  </a:lnTo>
                  <a:lnTo>
                    <a:pt x="1475" y="58"/>
                  </a:lnTo>
                  <a:lnTo>
                    <a:pt x="1449" y="58"/>
                  </a:lnTo>
                  <a:lnTo>
                    <a:pt x="1449" y="58"/>
                  </a:lnTo>
                  <a:lnTo>
                    <a:pt x="1437" y="58"/>
                  </a:lnTo>
                  <a:lnTo>
                    <a:pt x="1437" y="58"/>
                  </a:lnTo>
                  <a:lnTo>
                    <a:pt x="1425" y="58"/>
                  </a:lnTo>
                  <a:lnTo>
                    <a:pt x="1425" y="58"/>
                  </a:lnTo>
                  <a:lnTo>
                    <a:pt x="1414" y="58"/>
                  </a:lnTo>
                  <a:lnTo>
                    <a:pt x="1414" y="58"/>
                  </a:lnTo>
                  <a:lnTo>
                    <a:pt x="1414" y="51"/>
                  </a:lnTo>
                  <a:lnTo>
                    <a:pt x="1414" y="47"/>
                  </a:lnTo>
                  <a:lnTo>
                    <a:pt x="1414" y="47"/>
                  </a:lnTo>
                  <a:lnTo>
                    <a:pt x="1402" y="47"/>
                  </a:lnTo>
                  <a:lnTo>
                    <a:pt x="1402" y="47"/>
                  </a:lnTo>
                  <a:lnTo>
                    <a:pt x="1390" y="47"/>
                  </a:lnTo>
                  <a:lnTo>
                    <a:pt x="1390" y="47"/>
                  </a:lnTo>
                  <a:lnTo>
                    <a:pt x="1367" y="47"/>
                  </a:lnTo>
                  <a:lnTo>
                    <a:pt x="1367" y="47"/>
                  </a:lnTo>
                  <a:lnTo>
                    <a:pt x="1367" y="94"/>
                  </a:lnTo>
                  <a:lnTo>
                    <a:pt x="1367" y="94"/>
                  </a:lnTo>
                  <a:lnTo>
                    <a:pt x="1367" y="141"/>
                  </a:lnTo>
                  <a:lnTo>
                    <a:pt x="1367" y="141"/>
                  </a:lnTo>
                  <a:lnTo>
                    <a:pt x="1355" y="141"/>
                  </a:lnTo>
                  <a:lnTo>
                    <a:pt x="1355" y="141"/>
                  </a:lnTo>
                  <a:lnTo>
                    <a:pt x="1261" y="141"/>
                  </a:lnTo>
                  <a:lnTo>
                    <a:pt x="1261" y="141"/>
                  </a:lnTo>
                  <a:lnTo>
                    <a:pt x="1261" y="153"/>
                  </a:lnTo>
                  <a:lnTo>
                    <a:pt x="1261" y="153"/>
                  </a:lnTo>
                  <a:lnTo>
                    <a:pt x="1261" y="176"/>
                  </a:lnTo>
                  <a:lnTo>
                    <a:pt x="1261" y="176"/>
                  </a:lnTo>
                  <a:lnTo>
                    <a:pt x="1261" y="188"/>
                  </a:lnTo>
                  <a:lnTo>
                    <a:pt x="1261" y="188"/>
                  </a:lnTo>
                  <a:lnTo>
                    <a:pt x="1261" y="200"/>
                  </a:lnTo>
                  <a:lnTo>
                    <a:pt x="1261" y="200"/>
                  </a:lnTo>
                  <a:lnTo>
                    <a:pt x="1261" y="207"/>
                  </a:lnTo>
                  <a:lnTo>
                    <a:pt x="1261" y="212"/>
                  </a:lnTo>
                  <a:lnTo>
                    <a:pt x="1261" y="212"/>
                  </a:lnTo>
                  <a:lnTo>
                    <a:pt x="1253" y="212"/>
                  </a:lnTo>
                  <a:lnTo>
                    <a:pt x="1249" y="212"/>
                  </a:lnTo>
                  <a:lnTo>
                    <a:pt x="1249" y="212"/>
                  </a:lnTo>
                  <a:lnTo>
                    <a:pt x="1249" y="219"/>
                  </a:lnTo>
                  <a:lnTo>
                    <a:pt x="1249" y="223"/>
                  </a:lnTo>
                  <a:lnTo>
                    <a:pt x="1249" y="223"/>
                  </a:lnTo>
                  <a:lnTo>
                    <a:pt x="1242" y="223"/>
                  </a:lnTo>
                  <a:lnTo>
                    <a:pt x="1237" y="223"/>
                  </a:lnTo>
                  <a:lnTo>
                    <a:pt x="1237" y="223"/>
                  </a:lnTo>
                  <a:lnTo>
                    <a:pt x="1235" y="230"/>
                  </a:lnTo>
                  <a:lnTo>
                    <a:pt x="1237" y="235"/>
                  </a:lnTo>
                  <a:lnTo>
                    <a:pt x="1237" y="235"/>
                  </a:lnTo>
                  <a:lnTo>
                    <a:pt x="1237" y="249"/>
                  </a:lnTo>
                  <a:lnTo>
                    <a:pt x="1237" y="249"/>
                  </a:lnTo>
                  <a:lnTo>
                    <a:pt x="1230" y="249"/>
                  </a:lnTo>
                  <a:lnTo>
                    <a:pt x="1225" y="249"/>
                  </a:lnTo>
                  <a:lnTo>
                    <a:pt x="1225" y="249"/>
                  </a:lnTo>
                  <a:lnTo>
                    <a:pt x="1218" y="249"/>
                  </a:lnTo>
                  <a:lnTo>
                    <a:pt x="1211" y="249"/>
                  </a:lnTo>
                  <a:lnTo>
                    <a:pt x="1211" y="249"/>
                  </a:lnTo>
                  <a:lnTo>
                    <a:pt x="1213" y="242"/>
                  </a:lnTo>
                  <a:lnTo>
                    <a:pt x="1211" y="235"/>
                  </a:lnTo>
                  <a:lnTo>
                    <a:pt x="1211" y="235"/>
                  </a:lnTo>
                  <a:lnTo>
                    <a:pt x="1206" y="235"/>
                  </a:lnTo>
                  <a:lnTo>
                    <a:pt x="1199" y="235"/>
                  </a:lnTo>
                  <a:lnTo>
                    <a:pt x="1199" y="235"/>
                  </a:lnTo>
                  <a:lnTo>
                    <a:pt x="1188" y="235"/>
                  </a:lnTo>
                  <a:lnTo>
                    <a:pt x="1188" y="235"/>
                  </a:lnTo>
                  <a:lnTo>
                    <a:pt x="1188" y="242"/>
                  </a:lnTo>
                  <a:lnTo>
                    <a:pt x="1190" y="247"/>
                  </a:lnTo>
                  <a:lnTo>
                    <a:pt x="1188" y="249"/>
                  </a:lnTo>
                  <a:lnTo>
                    <a:pt x="1188" y="249"/>
                  </a:lnTo>
                  <a:lnTo>
                    <a:pt x="1185" y="249"/>
                  </a:lnTo>
                  <a:lnTo>
                    <a:pt x="1183" y="249"/>
                  </a:lnTo>
                  <a:lnTo>
                    <a:pt x="1178" y="247"/>
                  </a:lnTo>
                  <a:lnTo>
                    <a:pt x="1176" y="249"/>
                  </a:lnTo>
                  <a:lnTo>
                    <a:pt x="1176" y="249"/>
                  </a:lnTo>
                  <a:lnTo>
                    <a:pt x="1176" y="252"/>
                  </a:lnTo>
                  <a:lnTo>
                    <a:pt x="1176" y="254"/>
                  </a:lnTo>
                  <a:lnTo>
                    <a:pt x="1178" y="259"/>
                  </a:lnTo>
                  <a:lnTo>
                    <a:pt x="1176" y="261"/>
                  </a:lnTo>
                  <a:lnTo>
                    <a:pt x="1176" y="261"/>
                  </a:lnTo>
                  <a:lnTo>
                    <a:pt x="1173" y="261"/>
                  </a:lnTo>
                  <a:lnTo>
                    <a:pt x="1171" y="261"/>
                  </a:lnTo>
                  <a:lnTo>
                    <a:pt x="1164" y="261"/>
                  </a:lnTo>
                  <a:lnTo>
                    <a:pt x="1164" y="261"/>
                  </a:lnTo>
                  <a:lnTo>
                    <a:pt x="1164" y="235"/>
                  </a:lnTo>
                  <a:lnTo>
                    <a:pt x="1164" y="235"/>
                  </a:lnTo>
                  <a:lnTo>
                    <a:pt x="1152" y="235"/>
                  </a:lnTo>
                  <a:lnTo>
                    <a:pt x="1152" y="235"/>
                  </a:lnTo>
                  <a:lnTo>
                    <a:pt x="1140" y="235"/>
                  </a:lnTo>
                  <a:lnTo>
                    <a:pt x="1140" y="235"/>
                  </a:lnTo>
                  <a:lnTo>
                    <a:pt x="1129" y="235"/>
                  </a:lnTo>
                  <a:lnTo>
                    <a:pt x="1129" y="235"/>
                  </a:lnTo>
                  <a:lnTo>
                    <a:pt x="1129" y="242"/>
                  </a:lnTo>
                  <a:lnTo>
                    <a:pt x="1129" y="247"/>
                  </a:lnTo>
                  <a:lnTo>
                    <a:pt x="1129" y="249"/>
                  </a:lnTo>
                  <a:lnTo>
                    <a:pt x="1129" y="249"/>
                  </a:lnTo>
                  <a:lnTo>
                    <a:pt x="1126" y="249"/>
                  </a:lnTo>
                  <a:lnTo>
                    <a:pt x="1124" y="249"/>
                  </a:lnTo>
                  <a:lnTo>
                    <a:pt x="1119" y="247"/>
                  </a:lnTo>
                  <a:lnTo>
                    <a:pt x="1117" y="249"/>
                  </a:lnTo>
                  <a:lnTo>
                    <a:pt x="1117" y="249"/>
                  </a:lnTo>
                  <a:lnTo>
                    <a:pt x="1117" y="252"/>
                  </a:lnTo>
                  <a:lnTo>
                    <a:pt x="1117" y="254"/>
                  </a:lnTo>
                  <a:lnTo>
                    <a:pt x="1117" y="259"/>
                  </a:lnTo>
                  <a:lnTo>
                    <a:pt x="1117" y="261"/>
                  </a:lnTo>
                  <a:lnTo>
                    <a:pt x="1117" y="261"/>
                  </a:lnTo>
                  <a:lnTo>
                    <a:pt x="1114" y="261"/>
                  </a:lnTo>
                  <a:lnTo>
                    <a:pt x="1112" y="261"/>
                  </a:lnTo>
                  <a:lnTo>
                    <a:pt x="1105" y="261"/>
                  </a:lnTo>
                  <a:lnTo>
                    <a:pt x="1105" y="261"/>
                  </a:lnTo>
                  <a:lnTo>
                    <a:pt x="1100" y="261"/>
                  </a:lnTo>
                  <a:lnTo>
                    <a:pt x="1093" y="261"/>
                  </a:lnTo>
                  <a:lnTo>
                    <a:pt x="1093" y="261"/>
                  </a:lnTo>
                  <a:lnTo>
                    <a:pt x="1086" y="259"/>
                  </a:lnTo>
                  <a:lnTo>
                    <a:pt x="1081" y="261"/>
                  </a:lnTo>
                  <a:lnTo>
                    <a:pt x="1081" y="261"/>
                  </a:lnTo>
                  <a:lnTo>
                    <a:pt x="1081" y="273"/>
                  </a:lnTo>
                  <a:lnTo>
                    <a:pt x="1081" y="273"/>
                  </a:lnTo>
                  <a:lnTo>
                    <a:pt x="1081" y="278"/>
                  </a:lnTo>
                  <a:lnTo>
                    <a:pt x="1081" y="285"/>
                  </a:lnTo>
                  <a:lnTo>
                    <a:pt x="1081" y="285"/>
                  </a:lnTo>
                  <a:lnTo>
                    <a:pt x="1079" y="285"/>
                  </a:lnTo>
                  <a:lnTo>
                    <a:pt x="1074" y="285"/>
                  </a:lnTo>
                  <a:lnTo>
                    <a:pt x="1070" y="285"/>
                  </a:lnTo>
                  <a:lnTo>
                    <a:pt x="1070" y="285"/>
                  </a:lnTo>
                  <a:lnTo>
                    <a:pt x="1070" y="188"/>
                  </a:lnTo>
                  <a:lnTo>
                    <a:pt x="1070" y="188"/>
                  </a:lnTo>
                  <a:lnTo>
                    <a:pt x="1058" y="188"/>
                  </a:lnTo>
                  <a:lnTo>
                    <a:pt x="1058" y="188"/>
                  </a:lnTo>
                  <a:lnTo>
                    <a:pt x="1034" y="188"/>
                  </a:lnTo>
                  <a:lnTo>
                    <a:pt x="1034" y="188"/>
                  </a:lnTo>
                  <a:lnTo>
                    <a:pt x="1034" y="165"/>
                  </a:lnTo>
                  <a:lnTo>
                    <a:pt x="1034" y="165"/>
                  </a:lnTo>
                  <a:lnTo>
                    <a:pt x="1011" y="165"/>
                  </a:lnTo>
                  <a:lnTo>
                    <a:pt x="1011" y="165"/>
                  </a:lnTo>
                  <a:lnTo>
                    <a:pt x="1011" y="188"/>
                  </a:lnTo>
                  <a:lnTo>
                    <a:pt x="1011" y="188"/>
                  </a:lnTo>
                  <a:lnTo>
                    <a:pt x="961" y="188"/>
                  </a:lnTo>
                  <a:lnTo>
                    <a:pt x="961" y="188"/>
                  </a:lnTo>
                  <a:lnTo>
                    <a:pt x="961" y="195"/>
                  </a:lnTo>
                  <a:lnTo>
                    <a:pt x="961" y="200"/>
                  </a:lnTo>
                  <a:lnTo>
                    <a:pt x="961" y="200"/>
                  </a:lnTo>
                  <a:lnTo>
                    <a:pt x="968" y="200"/>
                  </a:lnTo>
                  <a:lnTo>
                    <a:pt x="975" y="200"/>
                  </a:lnTo>
                  <a:lnTo>
                    <a:pt x="975" y="200"/>
                  </a:lnTo>
                  <a:lnTo>
                    <a:pt x="975" y="207"/>
                  </a:lnTo>
                  <a:lnTo>
                    <a:pt x="975" y="212"/>
                  </a:lnTo>
                  <a:lnTo>
                    <a:pt x="975" y="212"/>
                  </a:lnTo>
                  <a:lnTo>
                    <a:pt x="975" y="223"/>
                  </a:lnTo>
                  <a:lnTo>
                    <a:pt x="975" y="223"/>
                  </a:lnTo>
                  <a:lnTo>
                    <a:pt x="975" y="235"/>
                  </a:lnTo>
                  <a:lnTo>
                    <a:pt x="975" y="235"/>
                  </a:lnTo>
                  <a:lnTo>
                    <a:pt x="975" y="249"/>
                  </a:lnTo>
                  <a:lnTo>
                    <a:pt x="975" y="249"/>
                  </a:lnTo>
                  <a:lnTo>
                    <a:pt x="975" y="261"/>
                  </a:lnTo>
                  <a:lnTo>
                    <a:pt x="975" y="261"/>
                  </a:lnTo>
                  <a:lnTo>
                    <a:pt x="975" y="285"/>
                  </a:lnTo>
                  <a:lnTo>
                    <a:pt x="975" y="285"/>
                  </a:lnTo>
                  <a:lnTo>
                    <a:pt x="968" y="285"/>
                  </a:lnTo>
                  <a:lnTo>
                    <a:pt x="961" y="285"/>
                  </a:lnTo>
                  <a:lnTo>
                    <a:pt x="961" y="285"/>
                  </a:lnTo>
                  <a:lnTo>
                    <a:pt x="957" y="285"/>
                  </a:lnTo>
                  <a:lnTo>
                    <a:pt x="950" y="285"/>
                  </a:lnTo>
                  <a:lnTo>
                    <a:pt x="950" y="285"/>
                  </a:lnTo>
                  <a:lnTo>
                    <a:pt x="950" y="278"/>
                  </a:lnTo>
                  <a:lnTo>
                    <a:pt x="950" y="273"/>
                  </a:lnTo>
                  <a:lnTo>
                    <a:pt x="950" y="273"/>
                  </a:lnTo>
                  <a:lnTo>
                    <a:pt x="945" y="271"/>
                  </a:lnTo>
                  <a:lnTo>
                    <a:pt x="938" y="273"/>
                  </a:lnTo>
                  <a:lnTo>
                    <a:pt x="938" y="273"/>
                  </a:lnTo>
                  <a:lnTo>
                    <a:pt x="926" y="273"/>
                  </a:lnTo>
                  <a:lnTo>
                    <a:pt x="926" y="273"/>
                  </a:lnTo>
                  <a:lnTo>
                    <a:pt x="914" y="273"/>
                  </a:lnTo>
                  <a:lnTo>
                    <a:pt x="914" y="273"/>
                  </a:lnTo>
                  <a:lnTo>
                    <a:pt x="909" y="271"/>
                  </a:lnTo>
                  <a:lnTo>
                    <a:pt x="902" y="273"/>
                  </a:lnTo>
                  <a:lnTo>
                    <a:pt x="902" y="273"/>
                  </a:lnTo>
                  <a:lnTo>
                    <a:pt x="902" y="278"/>
                  </a:lnTo>
                  <a:lnTo>
                    <a:pt x="902" y="285"/>
                  </a:lnTo>
                  <a:lnTo>
                    <a:pt x="902" y="285"/>
                  </a:lnTo>
                  <a:lnTo>
                    <a:pt x="898" y="285"/>
                  </a:lnTo>
                  <a:lnTo>
                    <a:pt x="891" y="285"/>
                  </a:lnTo>
                  <a:lnTo>
                    <a:pt x="891" y="285"/>
                  </a:lnTo>
                  <a:lnTo>
                    <a:pt x="886" y="285"/>
                  </a:lnTo>
                  <a:lnTo>
                    <a:pt x="879" y="285"/>
                  </a:lnTo>
                  <a:lnTo>
                    <a:pt x="879" y="285"/>
                  </a:lnTo>
                  <a:lnTo>
                    <a:pt x="879" y="278"/>
                  </a:lnTo>
                  <a:lnTo>
                    <a:pt x="879" y="273"/>
                  </a:lnTo>
                  <a:lnTo>
                    <a:pt x="879" y="273"/>
                  </a:lnTo>
                  <a:lnTo>
                    <a:pt x="879" y="266"/>
                  </a:lnTo>
                  <a:lnTo>
                    <a:pt x="879" y="261"/>
                  </a:lnTo>
                  <a:lnTo>
                    <a:pt x="879" y="261"/>
                  </a:lnTo>
                  <a:lnTo>
                    <a:pt x="874" y="261"/>
                  </a:lnTo>
                  <a:lnTo>
                    <a:pt x="867" y="261"/>
                  </a:lnTo>
                  <a:lnTo>
                    <a:pt x="867" y="261"/>
                  </a:lnTo>
                  <a:lnTo>
                    <a:pt x="860" y="261"/>
                  </a:lnTo>
                  <a:lnTo>
                    <a:pt x="858" y="259"/>
                  </a:lnTo>
                  <a:lnTo>
                    <a:pt x="855" y="261"/>
                  </a:lnTo>
                  <a:lnTo>
                    <a:pt x="855" y="261"/>
                  </a:lnTo>
                  <a:lnTo>
                    <a:pt x="855" y="263"/>
                  </a:lnTo>
                  <a:lnTo>
                    <a:pt x="855" y="266"/>
                  </a:lnTo>
                  <a:lnTo>
                    <a:pt x="855" y="273"/>
                  </a:lnTo>
                  <a:lnTo>
                    <a:pt x="855" y="273"/>
                  </a:lnTo>
                  <a:lnTo>
                    <a:pt x="855" y="275"/>
                  </a:lnTo>
                  <a:lnTo>
                    <a:pt x="855" y="278"/>
                  </a:lnTo>
                  <a:lnTo>
                    <a:pt x="855" y="282"/>
                  </a:lnTo>
                  <a:lnTo>
                    <a:pt x="855" y="285"/>
                  </a:lnTo>
                  <a:lnTo>
                    <a:pt x="855" y="285"/>
                  </a:lnTo>
                  <a:lnTo>
                    <a:pt x="851" y="285"/>
                  </a:lnTo>
                  <a:lnTo>
                    <a:pt x="844" y="285"/>
                  </a:lnTo>
                  <a:lnTo>
                    <a:pt x="844" y="285"/>
                  </a:lnTo>
                  <a:lnTo>
                    <a:pt x="832" y="285"/>
                  </a:lnTo>
                  <a:lnTo>
                    <a:pt x="832" y="285"/>
                  </a:lnTo>
                  <a:lnTo>
                    <a:pt x="825" y="285"/>
                  </a:lnTo>
                  <a:lnTo>
                    <a:pt x="820" y="285"/>
                  </a:lnTo>
                  <a:lnTo>
                    <a:pt x="820" y="285"/>
                  </a:lnTo>
                  <a:lnTo>
                    <a:pt x="820" y="282"/>
                  </a:lnTo>
                  <a:lnTo>
                    <a:pt x="820" y="278"/>
                  </a:lnTo>
                  <a:lnTo>
                    <a:pt x="820" y="273"/>
                  </a:lnTo>
                  <a:lnTo>
                    <a:pt x="820" y="273"/>
                  </a:lnTo>
                  <a:lnTo>
                    <a:pt x="796" y="273"/>
                  </a:lnTo>
                  <a:lnTo>
                    <a:pt x="796" y="273"/>
                  </a:lnTo>
                  <a:lnTo>
                    <a:pt x="785" y="273"/>
                  </a:lnTo>
                  <a:lnTo>
                    <a:pt x="785" y="273"/>
                  </a:lnTo>
                  <a:lnTo>
                    <a:pt x="761" y="273"/>
                  </a:lnTo>
                  <a:lnTo>
                    <a:pt x="761" y="273"/>
                  </a:lnTo>
                  <a:lnTo>
                    <a:pt x="737" y="273"/>
                  </a:lnTo>
                  <a:lnTo>
                    <a:pt x="737" y="273"/>
                  </a:lnTo>
                  <a:lnTo>
                    <a:pt x="737" y="261"/>
                  </a:lnTo>
                  <a:lnTo>
                    <a:pt x="737" y="261"/>
                  </a:lnTo>
                  <a:lnTo>
                    <a:pt x="737" y="235"/>
                  </a:lnTo>
                  <a:lnTo>
                    <a:pt x="737" y="235"/>
                  </a:lnTo>
                  <a:lnTo>
                    <a:pt x="737" y="188"/>
                  </a:lnTo>
                  <a:lnTo>
                    <a:pt x="737" y="188"/>
                  </a:lnTo>
                  <a:lnTo>
                    <a:pt x="688" y="188"/>
                  </a:lnTo>
                  <a:lnTo>
                    <a:pt x="688" y="188"/>
                  </a:lnTo>
                  <a:lnTo>
                    <a:pt x="688" y="176"/>
                  </a:lnTo>
                  <a:lnTo>
                    <a:pt x="688" y="176"/>
                  </a:lnTo>
                  <a:lnTo>
                    <a:pt x="690" y="172"/>
                  </a:lnTo>
                  <a:lnTo>
                    <a:pt x="688" y="165"/>
                  </a:lnTo>
                  <a:lnTo>
                    <a:pt x="688" y="165"/>
                  </a:lnTo>
                  <a:lnTo>
                    <a:pt x="686" y="165"/>
                  </a:lnTo>
                  <a:lnTo>
                    <a:pt x="683" y="165"/>
                  </a:lnTo>
                  <a:lnTo>
                    <a:pt x="676" y="165"/>
                  </a:lnTo>
                  <a:lnTo>
                    <a:pt x="676" y="165"/>
                  </a:lnTo>
                  <a:lnTo>
                    <a:pt x="653" y="165"/>
                  </a:lnTo>
                  <a:lnTo>
                    <a:pt x="653" y="165"/>
                  </a:lnTo>
                  <a:lnTo>
                    <a:pt x="653" y="172"/>
                  </a:lnTo>
                  <a:lnTo>
                    <a:pt x="653" y="174"/>
                  </a:lnTo>
                  <a:lnTo>
                    <a:pt x="653" y="176"/>
                  </a:lnTo>
                  <a:lnTo>
                    <a:pt x="653" y="176"/>
                  </a:lnTo>
                  <a:lnTo>
                    <a:pt x="648" y="176"/>
                  </a:lnTo>
                  <a:lnTo>
                    <a:pt x="641" y="176"/>
                  </a:lnTo>
                  <a:lnTo>
                    <a:pt x="641" y="176"/>
                  </a:lnTo>
                  <a:lnTo>
                    <a:pt x="641" y="183"/>
                  </a:lnTo>
                  <a:lnTo>
                    <a:pt x="641" y="188"/>
                  </a:lnTo>
                  <a:lnTo>
                    <a:pt x="641" y="188"/>
                  </a:lnTo>
                  <a:lnTo>
                    <a:pt x="641" y="200"/>
                  </a:lnTo>
                  <a:lnTo>
                    <a:pt x="641" y="200"/>
                  </a:lnTo>
                  <a:lnTo>
                    <a:pt x="641" y="212"/>
                  </a:lnTo>
                  <a:lnTo>
                    <a:pt x="641" y="212"/>
                  </a:lnTo>
                  <a:lnTo>
                    <a:pt x="641" y="223"/>
                  </a:lnTo>
                  <a:lnTo>
                    <a:pt x="641" y="223"/>
                  </a:lnTo>
                  <a:lnTo>
                    <a:pt x="641" y="235"/>
                  </a:lnTo>
                  <a:lnTo>
                    <a:pt x="641" y="235"/>
                  </a:lnTo>
                  <a:lnTo>
                    <a:pt x="641" y="261"/>
                  </a:lnTo>
                  <a:lnTo>
                    <a:pt x="641" y="261"/>
                  </a:lnTo>
                  <a:lnTo>
                    <a:pt x="594" y="261"/>
                  </a:lnTo>
                  <a:lnTo>
                    <a:pt x="594" y="261"/>
                  </a:lnTo>
                  <a:lnTo>
                    <a:pt x="587" y="261"/>
                  </a:lnTo>
                  <a:lnTo>
                    <a:pt x="582" y="261"/>
                  </a:lnTo>
                  <a:lnTo>
                    <a:pt x="582" y="261"/>
                  </a:lnTo>
                  <a:lnTo>
                    <a:pt x="582" y="261"/>
                  </a:lnTo>
                  <a:lnTo>
                    <a:pt x="582" y="266"/>
                  </a:lnTo>
                  <a:lnTo>
                    <a:pt x="582" y="273"/>
                  </a:lnTo>
                  <a:lnTo>
                    <a:pt x="582" y="273"/>
                  </a:lnTo>
                  <a:lnTo>
                    <a:pt x="570" y="273"/>
                  </a:lnTo>
                  <a:lnTo>
                    <a:pt x="570" y="273"/>
                  </a:lnTo>
                  <a:lnTo>
                    <a:pt x="570" y="261"/>
                  </a:lnTo>
                  <a:lnTo>
                    <a:pt x="570" y="261"/>
                  </a:lnTo>
                  <a:lnTo>
                    <a:pt x="568" y="259"/>
                  </a:lnTo>
                  <a:lnTo>
                    <a:pt x="563" y="261"/>
                  </a:lnTo>
                  <a:lnTo>
                    <a:pt x="561" y="261"/>
                  </a:lnTo>
                  <a:lnTo>
                    <a:pt x="558" y="261"/>
                  </a:lnTo>
                  <a:lnTo>
                    <a:pt x="558" y="261"/>
                  </a:lnTo>
                  <a:lnTo>
                    <a:pt x="558" y="259"/>
                  </a:lnTo>
                  <a:lnTo>
                    <a:pt x="558" y="254"/>
                  </a:lnTo>
                  <a:lnTo>
                    <a:pt x="558" y="252"/>
                  </a:lnTo>
                  <a:lnTo>
                    <a:pt x="558" y="249"/>
                  </a:lnTo>
                  <a:lnTo>
                    <a:pt x="558" y="249"/>
                  </a:lnTo>
                  <a:lnTo>
                    <a:pt x="556" y="247"/>
                  </a:lnTo>
                  <a:lnTo>
                    <a:pt x="551" y="247"/>
                  </a:lnTo>
                  <a:lnTo>
                    <a:pt x="547" y="249"/>
                  </a:lnTo>
                  <a:lnTo>
                    <a:pt x="547" y="249"/>
                  </a:lnTo>
                  <a:lnTo>
                    <a:pt x="547" y="261"/>
                  </a:lnTo>
                  <a:lnTo>
                    <a:pt x="547" y="261"/>
                  </a:lnTo>
                  <a:lnTo>
                    <a:pt x="547" y="266"/>
                  </a:lnTo>
                  <a:lnTo>
                    <a:pt x="547" y="273"/>
                  </a:lnTo>
                  <a:lnTo>
                    <a:pt x="547" y="273"/>
                  </a:lnTo>
                  <a:lnTo>
                    <a:pt x="535" y="273"/>
                  </a:lnTo>
                  <a:lnTo>
                    <a:pt x="535" y="273"/>
                  </a:lnTo>
                  <a:lnTo>
                    <a:pt x="535" y="266"/>
                  </a:lnTo>
                  <a:lnTo>
                    <a:pt x="535" y="261"/>
                  </a:lnTo>
                  <a:lnTo>
                    <a:pt x="535" y="261"/>
                  </a:lnTo>
                  <a:lnTo>
                    <a:pt x="535" y="249"/>
                  </a:lnTo>
                  <a:lnTo>
                    <a:pt x="535" y="249"/>
                  </a:lnTo>
                  <a:lnTo>
                    <a:pt x="523" y="249"/>
                  </a:lnTo>
                  <a:lnTo>
                    <a:pt x="523" y="249"/>
                  </a:lnTo>
                  <a:lnTo>
                    <a:pt x="511" y="249"/>
                  </a:lnTo>
                  <a:lnTo>
                    <a:pt x="511" y="249"/>
                  </a:lnTo>
                  <a:lnTo>
                    <a:pt x="500" y="249"/>
                  </a:lnTo>
                  <a:lnTo>
                    <a:pt x="500" y="249"/>
                  </a:lnTo>
                  <a:lnTo>
                    <a:pt x="500" y="261"/>
                  </a:lnTo>
                  <a:lnTo>
                    <a:pt x="500" y="261"/>
                  </a:lnTo>
                  <a:lnTo>
                    <a:pt x="488" y="261"/>
                  </a:lnTo>
                  <a:lnTo>
                    <a:pt x="488" y="261"/>
                  </a:lnTo>
                  <a:lnTo>
                    <a:pt x="488" y="254"/>
                  </a:lnTo>
                  <a:lnTo>
                    <a:pt x="488" y="249"/>
                  </a:lnTo>
                  <a:lnTo>
                    <a:pt x="488" y="249"/>
                  </a:lnTo>
                  <a:lnTo>
                    <a:pt x="485" y="247"/>
                  </a:lnTo>
                  <a:lnTo>
                    <a:pt x="481" y="247"/>
                  </a:lnTo>
                  <a:lnTo>
                    <a:pt x="474" y="249"/>
                  </a:lnTo>
                  <a:lnTo>
                    <a:pt x="474" y="249"/>
                  </a:lnTo>
                  <a:lnTo>
                    <a:pt x="474" y="223"/>
                  </a:lnTo>
                  <a:lnTo>
                    <a:pt x="474" y="223"/>
                  </a:lnTo>
                  <a:lnTo>
                    <a:pt x="474" y="212"/>
                  </a:lnTo>
                  <a:lnTo>
                    <a:pt x="474" y="212"/>
                  </a:lnTo>
                  <a:lnTo>
                    <a:pt x="476" y="207"/>
                  </a:lnTo>
                  <a:lnTo>
                    <a:pt x="474" y="200"/>
                  </a:lnTo>
                  <a:lnTo>
                    <a:pt x="474" y="200"/>
                  </a:lnTo>
                  <a:lnTo>
                    <a:pt x="462" y="200"/>
                  </a:lnTo>
                  <a:lnTo>
                    <a:pt x="462" y="200"/>
                  </a:lnTo>
                  <a:lnTo>
                    <a:pt x="462" y="212"/>
                  </a:lnTo>
                  <a:lnTo>
                    <a:pt x="462" y="212"/>
                  </a:lnTo>
                  <a:lnTo>
                    <a:pt x="462" y="223"/>
                  </a:lnTo>
                  <a:lnTo>
                    <a:pt x="462" y="223"/>
                  </a:lnTo>
                  <a:lnTo>
                    <a:pt x="462" y="235"/>
                  </a:lnTo>
                  <a:lnTo>
                    <a:pt x="462" y="235"/>
                  </a:lnTo>
                  <a:lnTo>
                    <a:pt x="464" y="242"/>
                  </a:lnTo>
                  <a:lnTo>
                    <a:pt x="462" y="249"/>
                  </a:lnTo>
                  <a:lnTo>
                    <a:pt x="462" y="249"/>
                  </a:lnTo>
                  <a:lnTo>
                    <a:pt x="462" y="249"/>
                  </a:lnTo>
                  <a:lnTo>
                    <a:pt x="457" y="249"/>
                  </a:lnTo>
                  <a:lnTo>
                    <a:pt x="450" y="249"/>
                  </a:lnTo>
                  <a:lnTo>
                    <a:pt x="450" y="249"/>
                  </a:lnTo>
                  <a:lnTo>
                    <a:pt x="450" y="252"/>
                  </a:lnTo>
                  <a:lnTo>
                    <a:pt x="450" y="254"/>
                  </a:lnTo>
                  <a:lnTo>
                    <a:pt x="450" y="261"/>
                  </a:lnTo>
                  <a:lnTo>
                    <a:pt x="450" y="261"/>
                  </a:lnTo>
                  <a:lnTo>
                    <a:pt x="426" y="261"/>
                  </a:lnTo>
                  <a:lnTo>
                    <a:pt x="426" y="261"/>
                  </a:lnTo>
                  <a:lnTo>
                    <a:pt x="426" y="212"/>
                  </a:lnTo>
                  <a:lnTo>
                    <a:pt x="426" y="212"/>
                  </a:lnTo>
                  <a:lnTo>
                    <a:pt x="426" y="200"/>
                  </a:lnTo>
                  <a:lnTo>
                    <a:pt x="426" y="200"/>
                  </a:lnTo>
                  <a:lnTo>
                    <a:pt x="426" y="195"/>
                  </a:lnTo>
                  <a:lnTo>
                    <a:pt x="426" y="188"/>
                  </a:lnTo>
                  <a:lnTo>
                    <a:pt x="426" y="188"/>
                  </a:lnTo>
                  <a:lnTo>
                    <a:pt x="424" y="188"/>
                  </a:lnTo>
                  <a:lnTo>
                    <a:pt x="422" y="188"/>
                  </a:lnTo>
                  <a:lnTo>
                    <a:pt x="415" y="188"/>
                  </a:lnTo>
                  <a:lnTo>
                    <a:pt x="415" y="188"/>
                  </a:lnTo>
                  <a:lnTo>
                    <a:pt x="415" y="165"/>
                  </a:lnTo>
                  <a:lnTo>
                    <a:pt x="415" y="165"/>
                  </a:lnTo>
                  <a:lnTo>
                    <a:pt x="415" y="153"/>
                  </a:lnTo>
                  <a:lnTo>
                    <a:pt x="415" y="153"/>
                  </a:lnTo>
                  <a:lnTo>
                    <a:pt x="415" y="141"/>
                  </a:lnTo>
                  <a:lnTo>
                    <a:pt x="415" y="141"/>
                  </a:lnTo>
                  <a:lnTo>
                    <a:pt x="415" y="134"/>
                  </a:lnTo>
                  <a:lnTo>
                    <a:pt x="415" y="129"/>
                  </a:lnTo>
                  <a:lnTo>
                    <a:pt x="415" y="129"/>
                  </a:lnTo>
                  <a:lnTo>
                    <a:pt x="412" y="129"/>
                  </a:lnTo>
                  <a:lnTo>
                    <a:pt x="410" y="129"/>
                  </a:lnTo>
                  <a:lnTo>
                    <a:pt x="403" y="129"/>
                  </a:lnTo>
                  <a:lnTo>
                    <a:pt x="403" y="129"/>
                  </a:lnTo>
                  <a:lnTo>
                    <a:pt x="403" y="141"/>
                  </a:lnTo>
                  <a:lnTo>
                    <a:pt x="403" y="141"/>
                  </a:lnTo>
                  <a:lnTo>
                    <a:pt x="403" y="165"/>
                  </a:lnTo>
                  <a:lnTo>
                    <a:pt x="403" y="165"/>
                  </a:lnTo>
                  <a:lnTo>
                    <a:pt x="398" y="165"/>
                  </a:lnTo>
                  <a:lnTo>
                    <a:pt x="393" y="165"/>
                  </a:lnTo>
                  <a:lnTo>
                    <a:pt x="391" y="165"/>
                  </a:lnTo>
                  <a:lnTo>
                    <a:pt x="391" y="165"/>
                  </a:lnTo>
                  <a:lnTo>
                    <a:pt x="391" y="172"/>
                  </a:lnTo>
                  <a:lnTo>
                    <a:pt x="391" y="176"/>
                  </a:lnTo>
                  <a:lnTo>
                    <a:pt x="391" y="176"/>
                  </a:lnTo>
                  <a:lnTo>
                    <a:pt x="391" y="188"/>
                  </a:lnTo>
                  <a:lnTo>
                    <a:pt x="391" y="188"/>
                  </a:lnTo>
                  <a:lnTo>
                    <a:pt x="391" y="200"/>
                  </a:lnTo>
                  <a:lnTo>
                    <a:pt x="391" y="200"/>
                  </a:lnTo>
                  <a:lnTo>
                    <a:pt x="386" y="200"/>
                  </a:lnTo>
                  <a:lnTo>
                    <a:pt x="382" y="200"/>
                  </a:lnTo>
                  <a:lnTo>
                    <a:pt x="379" y="200"/>
                  </a:lnTo>
                  <a:lnTo>
                    <a:pt x="379" y="200"/>
                  </a:lnTo>
                  <a:lnTo>
                    <a:pt x="379" y="207"/>
                  </a:lnTo>
                  <a:lnTo>
                    <a:pt x="379" y="212"/>
                  </a:lnTo>
                  <a:lnTo>
                    <a:pt x="379" y="212"/>
                  </a:lnTo>
                  <a:lnTo>
                    <a:pt x="379" y="223"/>
                  </a:lnTo>
                  <a:lnTo>
                    <a:pt x="379" y="223"/>
                  </a:lnTo>
                  <a:lnTo>
                    <a:pt x="379" y="235"/>
                  </a:lnTo>
                  <a:lnTo>
                    <a:pt x="379" y="235"/>
                  </a:lnTo>
                  <a:lnTo>
                    <a:pt x="379" y="261"/>
                  </a:lnTo>
                  <a:lnTo>
                    <a:pt x="379" y="261"/>
                  </a:lnTo>
                  <a:lnTo>
                    <a:pt x="375" y="261"/>
                  </a:lnTo>
                  <a:lnTo>
                    <a:pt x="368" y="261"/>
                  </a:lnTo>
                  <a:lnTo>
                    <a:pt x="368" y="261"/>
                  </a:lnTo>
                  <a:lnTo>
                    <a:pt x="363" y="261"/>
                  </a:lnTo>
                  <a:lnTo>
                    <a:pt x="356" y="261"/>
                  </a:lnTo>
                  <a:lnTo>
                    <a:pt x="356" y="261"/>
                  </a:lnTo>
                  <a:lnTo>
                    <a:pt x="349" y="259"/>
                  </a:lnTo>
                  <a:lnTo>
                    <a:pt x="344" y="261"/>
                  </a:lnTo>
                  <a:lnTo>
                    <a:pt x="344" y="261"/>
                  </a:lnTo>
                  <a:lnTo>
                    <a:pt x="344" y="266"/>
                  </a:lnTo>
                  <a:lnTo>
                    <a:pt x="344" y="271"/>
                  </a:lnTo>
                  <a:lnTo>
                    <a:pt x="344" y="273"/>
                  </a:lnTo>
                  <a:lnTo>
                    <a:pt x="344" y="273"/>
                  </a:lnTo>
                  <a:lnTo>
                    <a:pt x="337" y="273"/>
                  </a:lnTo>
                  <a:lnTo>
                    <a:pt x="332" y="273"/>
                  </a:lnTo>
                  <a:lnTo>
                    <a:pt x="332" y="273"/>
                  </a:lnTo>
                  <a:lnTo>
                    <a:pt x="320" y="273"/>
                  </a:lnTo>
                  <a:lnTo>
                    <a:pt x="320" y="273"/>
                  </a:lnTo>
                  <a:lnTo>
                    <a:pt x="313" y="273"/>
                  </a:lnTo>
                  <a:lnTo>
                    <a:pt x="309" y="273"/>
                  </a:lnTo>
                  <a:lnTo>
                    <a:pt x="309" y="273"/>
                  </a:lnTo>
                  <a:lnTo>
                    <a:pt x="309" y="266"/>
                  </a:lnTo>
                  <a:lnTo>
                    <a:pt x="309" y="261"/>
                  </a:lnTo>
                  <a:lnTo>
                    <a:pt x="309" y="261"/>
                  </a:lnTo>
                  <a:lnTo>
                    <a:pt x="302" y="261"/>
                  </a:lnTo>
                  <a:lnTo>
                    <a:pt x="297" y="261"/>
                  </a:lnTo>
                  <a:lnTo>
                    <a:pt x="297" y="261"/>
                  </a:lnTo>
                  <a:lnTo>
                    <a:pt x="297" y="254"/>
                  </a:lnTo>
                  <a:lnTo>
                    <a:pt x="297" y="249"/>
                  </a:lnTo>
                  <a:lnTo>
                    <a:pt x="297" y="249"/>
                  </a:lnTo>
                  <a:lnTo>
                    <a:pt x="290" y="247"/>
                  </a:lnTo>
                  <a:lnTo>
                    <a:pt x="285" y="249"/>
                  </a:lnTo>
                  <a:lnTo>
                    <a:pt x="285" y="249"/>
                  </a:lnTo>
                  <a:lnTo>
                    <a:pt x="273" y="249"/>
                  </a:lnTo>
                  <a:lnTo>
                    <a:pt x="273" y="249"/>
                  </a:lnTo>
                  <a:lnTo>
                    <a:pt x="266" y="247"/>
                  </a:lnTo>
                  <a:lnTo>
                    <a:pt x="264" y="247"/>
                  </a:lnTo>
                  <a:lnTo>
                    <a:pt x="262" y="249"/>
                  </a:lnTo>
                  <a:lnTo>
                    <a:pt x="262" y="249"/>
                  </a:lnTo>
                  <a:lnTo>
                    <a:pt x="259" y="252"/>
                  </a:lnTo>
                  <a:lnTo>
                    <a:pt x="262" y="254"/>
                  </a:lnTo>
                  <a:lnTo>
                    <a:pt x="262" y="261"/>
                  </a:lnTo>
                  <a:lnTo>
                    <a:pt x="262" y="261"/>
                  </a:lnTo>
                  <a:lnTo>
                    <a:pt x="262" y="266"/>
                  </a:lnTo>
                  <a:lnTo>
                    <a:pt x="262" y="271"/>
                  </a:lnTo>
                  <a:lnTo>
                    <a:pt x="262" y="273"/>
                  </a:lnTo>
                  <a:lnTo>
                    <a:pt x="262" y="273"/>
                  </a:lnTo>
                  <a:lnTo>
                    <a:pt x="259" y="273"/>
                  </a:lnTo>
                  <a:lnTo>
                    <a:pt x="254" y="273"/>
                  </a:lnTo>
                  <a:lnTo>
                    <a:pt x="250" y="273"/>
                  </a:lnTo>
                  <a:lnTo>
                    <a:pt x="250" y="273"/>
                  </a:lnTo>
                  <a:lnTo>
                    <a:pt x="224" y="273"/>
                  </a:lnTo>
                  <a:lnTo>
                    <a:pt x="224" y="273"/>
                  </a:lnTo>
                  <a:lnTo>
                    <a:pt x="212" y="273"/>
                  </a:lnTo>
                  <a:lnTo>
                    <a:pt x="212" y="273"/>
                  </a:lnTo>
                  <a:lnTo>
                    <a:pt x="207" y="273"/>
                  </a:lnTo>
                  <a:lnTo>
                    <a:pt x="200" y="273"/>
                  </a:lnTo>
                  <a:lnTo>
                    <a:pt x="200" y="273"/>
                  </a:lnTo>
                  <a:lnTo>
                    <a:pt x="200" y="266"/>
                  </a:lnTo>
                  <a:lnTo>
                    <a:pt x="200" y="261"/>
                  </a:lnTo>
                  <a:lnTo>
                    <a:pt x="200" y="261"/>
                  </a:lnTo>
                  <a:lnTo>
                    <a:pt x="196" y="259"/>
                  </a:lnTo>
                  <a:lnTo>
                    <a:pt x="188" y="261"/>
                  </a:lnTo>
                  <a:lnTo>
                    <a:pt x="188" y="261"/>
                  </a:lnTo>
                  <a:lnTo>
                    <a:pt x="177" y="261"/>
                  </a:lnTo>
                  <a:lnTo>
                    <a:pt x="177" y="261"/>
                  </a:lnTo>
                  <a:lnTo>
                    <a:pt x="153" y="261"/>
                  </a:lnTo>
                  <a:lnTo>
                    <a:pt x="153" y="261"/>
                  </a:lnTo>
                  <a:lnTo>
                    <a:pt x="153" y="254"/>
                  </a:lnTo>
                  <a:lnTo>
                    <a:pt x="153" y="252"/>
                  </a:lnTo>
                  <a:lnTo>
                    <a:pt x="153" y="249"/>
                  </a:lnTo>
                  <a:lnTo>
                    <a:pt x="153" y="249"/>
                  </a:lnTo>
                  <a:lnTo>
                    <a:pt x="141" y="249"/>
                  </a:lnTo>
                  <a:lnTo>
                    <a:pt x="141" y="249"/>
                  </a:lnTo>
                  <a:lnTo>
                    <a:pt x="130" y="249"/>
                  </a:lnTo>
                  <a:lnTo>
                    <a:pt x="130" y="249"/>
                  </a:lnTo>
                  <a:lnTo>
                    <a:pt x="118" y="249"/>
                  </a:lnTo>
                  <a:lnTo>
                    <a:pt x="118" y="249"/>
                  </a:lnTo>
                  <a:lnTo>
                    <a:pt x="106" y="249"/>
                  </a:lnTo>
                  <a:lnTo>
                    <a:pt x="106" y="249"/>
                  </a:lnTo>
                  <a:lnTo>
                    <a:pt x="99" y="247"/>
                  </a:lnTo>
                  <a:lnTo>
                    <a:pt x="94" y="249"/>
                  </a:lnTo>
                  <a:lnTo>
                    <a:pt x="94" y="249"/>
                  </a:lnTo>
                  <a:lnTo>
                    <a:pt x="94" y="249"/>
                  </a:lnTo>
                  <a:lnTo>
                    <a:pt x="94" y="254"/>
                  </a:lnTo>
                  <a:lnTo>
                    <a:pt x="94" y="261"/>
                  </a:lnTo>
                  <a:lnTo>
                    <a:pt x="94" y="261"/>
                  </a:lnTo>
                  <a:lnTo>
                    <a:pt x="82" y="261"/>
                  </a:lnTo>
                  <a:lnTo>
                    <a:pt x="82" y="261"/>
                  </a:lnTo>
                  <a:lnTo>
                    <a:pt x="75" y="261"/>
                  </a:lnTo>
                  <a:lnTo>
                    <a:pt x="71" y="261"/>
                  </a:lnTo>
                  <a:lnTo>
                    <a:pt x="71" y="261"/>
                  </a:lnTo>
                  <a:lnTo>
                    <a:pt x="71" y="254"/>
                  </a:lnTo>
                  <a:lnTo>
                    <a:pt x="71" y="252"/>
                  </a:lnTo>
                  <a:lnTo>
                    <a:pt x="71" y="249"/>
                  </a:lnTo>
                  <a:lnTo>
                    <a:pt x="71" y="249"/>
                  </a:lnTo>
                  <a:lnTo>
                    <a:pt x="68" y="247"/>
                  </a:lnTo>
                  <a:lnTo>
                    <a:pt x="64" y="247"/>
                  </a:lnTo>
                  <a:lnTo>
                    <a:pt x="59" y="249"/>
                  </a:lnTo>
                  <a:lnTo>
                    <a:pt x="59" y="249"/>
                  </a:lnTo>
                  <a:lnTo>
                    <a:pt x="59" y="247"/>
                  </a:lnTo>
                  <a:lnTo>
                    <a:pt x="59" y="242"/>
                  </a:lnTo>
                  <a:lnTo>
                    <a:pt x="59" y="235"/>
                  </a:lnTo>
                  <a:lnTo>
                    <a:pt x="59" y="235"/>
                  </a:lnTo>
                  <a:lnTo>
                    <a:pt x="57" y="235"/>
                  </a:lnTo>
                  <a:lnTo>
                    <a:pt x="52" y="235"/>
                  </a:lnTo>
                  <a:lnTo>
                    <a:pt x="47" y="235"/>
                  </a:lnTo>
                  <a:lnTo>
                    <a:pt x="47" y="235"/>
                  </a:lnTo>
                  <a:lnTo>
                    <a:pt x="47" y="249"/>
                  </a:lnTo>
                  <a:lnTo>
                    <a:pt x="47" y="249"/>
                  </a:lnTo>
                  <a:lnTo>
                    <a:pt x="47" y="273"/>
                  </a:lnTo>
                  <a:lnTo>
                    <a:pt x="47" y="273"/>
                  </a:lnTo>
                  <a:lnTo>
                    <a:pt x="0" y="273"/>
                  </a:lnTo>
                  <a:lnTo>
                    <a:pt x="0" y="273"/>
                  </a:lnTo>
                  <a:lnTo>
                    <a:pt x="0" y="320"/>
                  </a:lnTo>
                  <a:lnTo>
                    <a:pt x="0" y="320"/>
                  </a:lnTo>
                  <a:lnTo>
                    <a:pt x="0" y="344"/>
                  </a:lnTo>
                  <a:lnTo>
                    <a:pt x="0" y="344"/>
                  </a:lnTo>
                  <a:lnTo>
                    <a:pt x="12" y="344"/>
                  </a:lnTo>
                  <a:lnTo>
                    <a:pt x="12" y="344"/>
                  </a:lnTo>
                  <a:lnTo>
                    <a:pt x="35" y="344"/>
                  </a:lnTo>
                  <a:lnTo>
                    <a:pt x="35" y="344"/>
                  </a:lnTo>
                  <a:lnTo>
                    <a:pt x="82" y="344"/>
                  </a:lnTo>
                  <a:lnTo>
                    <a:pt x="82" y="344"/>
                  </a:lnTo>
                  <a:lnTo>
                    <a:pt x="106" y="344"/>
                  </a:lnTo>
                  <a:lnTo>
                    <a:pt x="106" y="344"/>
                  </a:lnTo>
                  <a:lnTo>
                    <a:pt x="118" y="344"/>
                  </a:lnTo>
                  <a:lnTo>
                    <a:pt x="118" y="344"/>
                  </a:lnTo>
                  <a:lnTo>
                    <a:pt x="141" y="344"/>
                  </a:lnTo>
                  <a:lnTo>
                    <a:pt x="141" y="344"/>
                  </a:lnTo>
                  <a:lnTo>
                    <a:pt x="165" y="344"/>
                  </a:lnTo>
                  <a:lnTo>
                    <a:pt x="165" y="344"/>
                  </a:lnTo>
                  <a:lnTo>
                    <a:pt x="177" y="344"/>
                  </a:lnTo>
                  <a:lnTo>
                    <a:pt x="177" y="344"/>
                  </a:lnTo>
                  <a:lnTo>
                    <a:pt x="200" y="344"/>
                  </a:lnTo>
                  <a:lnTo>
                    <a:pt x="200" y="344"/>
                  </a:lnTo>
                  <a:lnTo>
                    <a:pt x="212" y="344"/>
                  </a:lnTo>
                  <a:lnTo>
                    <a:pt x="212" y="344"/>
                  </a:lnTo>
                  <a:lnTo>
                    <a:pt x="238" y="344"/>
                  </a:lnTo>
                  <a:lnTo>
                    <a:pt x="238" y="344"/>
                  </a:lnTo>
                  <a:lnTo>
                    <a:pt x="250" y="344"/>
                  </a:lnTo>
                  <a:lnTo>
                    <a:pt x="250" y="344"/>
                  </a:lnTo>
                  <a:lnTo>
                    <a:pt x="273" y="344"/>
                  </a:lnTo>
                  <a:lnTo>
                    <a:pt x="273" y="344"/>
                  </a:lnTo>
                  <a:lnTo>
                    <a:pt x="285" y="344"/>
                  </a:lnTo>
                  <a:lnTo>
                    <a:pt x="285" y="344"/>
                  </a:lnTo>
                  <a:lnTo>
                    <a:pt x="309" y="344"/>
                  </a:lnTo>
                  <a:lnTo>
                    <a:pt x="309" y="344"/>
                  </a:lnTo>
                  <a:lnTo>
                    <a:pt x="320" y="344"/>
                  </a:lnTo>
                  <a:lnTo>
                    <a:pt x="320" y="344"/>
                  </a:lnTo>
                  <a:lnTo>
                    <a:pt x="344" y="344"/>
                  </a:lnTo>
                  <a:lnTo>
                    <a:pt x="344" y="344"/>
                  </a:lnTo>
                  <a:lnTo>
                    <a:pt x="356" y="344"/>
                  </a:lnTo>
                  <a:lnTo>
                    <a:pt x="356" y="344"/>
                  </a:lnTo>
                  <a:lnTo>
                    <a:pt x="379" y="344"/>
                  </a:lnTo>
                  <a:lnTo>
                    <a:pt x="379" y="344"/>
                  </a:lnTo>
                  <a:lnTo>
                    <a:pt x="391" y="344"/>
                  </a:lnTo>
                  <a:lnTo>
                    <a:pt x="391" y="344"/>
                  </a:lnTo>
                  <a:lnTo>
                    <a:pt x="438" y="344"/>
                  </a:lnTo>
                  <a:lnTo>
                    <a:pt x="438" y="344"/>
                  </a:lnTo>
                  <a:lnTo>
                    <a:pt x="488" y="344"/>
                  </a:lnTo>
                  <a:lnTo>
                    <a:pt x="488" y="344"/>
                  </a:lnTo>
                  <a:lnTo>
                    <a:pt x="511" y="344"/>
                  </a:lnTo>
                  <a:lnTo>
                    <a:pt x="511" y="344"/>
                  </a:lnTo>
                  <a:lnTo>
                    <a:pt x="523" y="344"/>
                  </a:lnTo>
                  <a:lnTo>
                    <a:pt x="523" y="344"/>
                  </a:lnTo>
                  <a:lnTo>
                    <a:pt x="547" y="344"/>
                  </a:lnTo>
                  <a:lnTo>
                    <a:pt x="547" y="344"/>
                  </a:lnTo>
                  <a:lnTo>
                    <a:pt x="558" y="344"/>
                  </a:lnTo>
                  <a:lnTo>
                    <a:pt x="558" y="344"/>
                  </a:lnTo>
                  <a:lnTo>
                    <a:pt x="582" y="344"/>
                  </a:lnTo>
                  <a:lnTo>
                    <a:pt x="582" y="344"/>
                  </a:lnTo>
                  <a:lnTo>
                    <a:pt x="594" y="344"/>
                  </a:lnTo>
                  <a:lnTo>
                    <a:pt x="594" y="344"/>
                  </a:lnTo>
                  <a:lnTo>
                    <a:pt x="617" y="344"/>
                  </a:lnTo>
                  <a:lnTo>
                    <a:pt x="617" y="344"/>
                  </a:lnTo>
                  <a:lnTo>
                    <a:pt x="629" y="344"/>
                  </a:lnTo>
                  <a:lnTo>
                    <a:pt x="629" y="344"/>
                  </a:lnTo>
                  <a:lnTo>
                    <a:pt x="653" y="344"/>
                  </a:lnTo>
                  <a:lnTo>
                    <a:pt x="653" y="344"/>
                  </a:lnTo>
                  <a:lnTo>
                    <a:pt x="664" y="344"/>
                  </a:lnTo>
                  <a:lnTo>
                    <a:pt x="664" y="344"/>
                  </a:lnTo>
                  <a:lnTo>
                    <a:pt x="712" y="344"/>
                  </a:lnTo>
                  <a:lnTo>
                    <a:pt x="712" y="344"/>
                  </a:lnTo>
                  <a:lnTo>
                    <a:pt x="723" y="344"/>
                  </a:lnTo>
                  <a:lnTo>
                    <a:pt x="723" y="344"/>
                  </a:lnTo>
                  <a:lnTo>
                    <a:pt x="749" y="344"/>
                  </a:lnTo>
                  <a:lnTo>
                    <a:pt x="749" y="344"/>
                  </a:lnTo>
                  <a:lnTo>
                    <a:pt x="761" y="344"/>
                  </a:lnTo>
                  <a:lnTo>
                    <a:pt x="761" y="344"/>
                  </a:lnTo>
                  <a:lnTo>
                    <a:pt x="785" y="344"/>
                  </a:lnTo>
                  <a:lnTo>
                    <a:pt x="785" y="344"/>
                  </a:lnTo>
                  <a:lnTo>
                    <a:pt x="796" y="344"/>
                  </a:lnTo>
                  <a:lnTo>
                    <a:pt x="796" y="344"/>
                  </a:lnTo>
                  <a:lnTo>
                    <a:pt x="820" y="344"/>
                  </a:lnTo>
                  <a:lnTo>
                    <a:pt x="820" y="344"/>
                  </a:lnTo>
                  <a:lnTo>
                    <a:pt x="832" y="344"/>
                  </a:lnTo>
                  <a:lnTo>
                    <a:pt x="832" y="344"/>
                  </a:lnTo>
                  <a:lnTo>
                    <a:pt x="855" y="344"/>
                  </a:lnTo>
                  <a:lnTo>
                    <a:pt x="855" y="344"/>
                  </a:lnTo>
                  <a:lnTo>
                    <a:pt x="867" y="344"/>
                  </a:lnTo>
                  <a:lnTo>
                    <a:pt x="867" y="344"/>
                  </a:lnTo>
                  <a:lnTo>
                    <a:pt x="891" y="344"/>
                  </a:lnTo>
                  <a:lnTo>
                    <a:pt x="891" y="344"/>
                  </a:lnTo>
                  <a:lnTo>
                    <a:pt x="902" y="344"/>
                  </a:lnTo>
                  <a:lnTo>
                    <a:pt x="902" y="344"/>
                  </a:lnTo>
                  <a:lnTo>
                    <a:pt x="926" y="344"/>
                  </a:lnTo>
                  <a:lnTo>
                    <a:pt x="926" y="344"/>
                  </a:lnTo>
                  <a:lnTo>
                    <a:pt x="938" y="344"/>
                  </a:lnTo>
                  <a:lnTo>
                    <a:pt x="938" y="344"/>
                  </a:lnTo>
                  <a:lnTo>
                    <a:pt x="987" y="344"/>
                  </a:lnTo>
                  <a:lnTo>
                    <a:pt x="987" y="344"/>
                  </a:lnTo>
                  <a:lnTo>
                    <a:pt x="999" y="344"/>
                  </a:lnTo>
                  <a:lnTo>
                    <a:pt x="999" y="344"/>
                  </a:lnTo>
                  <a:lnTo>
                    <a:pt x="1023" y="344"/>
                  </a:lnTo>
                  <a:lnTo>
                    <a:pt x="1023" y="344"/>
                  </a:lnTo>
                  <a:lnTo>
                    <a:pt x="1034" y="344"/>
                  </a:lnTo>
                  <a:lnTo>
                    <a:pt x="1034" y="344"/>
                  </a:lnTo>
                  <a:lnTo>
                    <a:pt x="1058" y="344"/>
                  </a:lnTo>
                  <a:lnTo>
                    <a:pt x="1058" y="344"/>
                  </a:lnTo>
                  <a:lnTo>
                    <a:pt x="1070" y="344"/>
                  </a:lnTo>
                  <a:lnTo>
                    <a:pt x="1070" y="344"/>
                  </a:lnTo>
                  <a:lnTo>
                    <a:pt x="1093" y="344"/>
                  </a:lnTo>
                  <a:lnTo>
                    <a:pt x="1093" y="344"/>
                  </a:lnTo>
                  <a:lnTo>
                    <a:pt x="1105" y="344"/>
                  </a:lnTo>
                  <a:lnTo>
                    <a:pt x="1105" y="344"/>
                  </a:lnTo>
                  <a:lnTo>
                    <a:pt x="1129" y="344"/>
                  </a:lnTo>
                  <a:lnTo>
                    <a:pt x="1129" y="344"/>
                  </a:lnTo>
                  <a:lnTo>
                    <a:pt x="1140" y="344"/>
                  </a:lnTo>
                  <a:lnTo>
                    <a:pt x="1140" y="344"/>
                  </a:lnTo>
                  <a:lnTo>
                    <a:pt x="1164" y="344"/>
                  </a:lnTo>
                  <a:lnTo>
                    <a:pt x="1164" y="344"/>
                  </a:lnTo>
                  <a:lnTo>
                    <a:pt x="1176" y="344"/>
                  </a:lnTo>
                  <a:lnTo>
                    <a:pt x="1176" y="344"/>
                  </a:lnTo>
                  <a:lnTo>
                    <a:pt x="1199" y="344"/>
                  </a:lnTo>
                  <a:lnTo>
                    <a:pt x="1199" y="344"/>
                  </a:lnTo>
                  <a:lnTo>
                    <a:pt x="1211" y="344"/>
                  </a:lnTo>
                  <a:lnTo>
                    <a:pt x="1211" y="344"/>
                  </a:lnTo>
                  <a:lnTo>
                    <a:pt x="1261" y="344"/>
                  </a:lnTo>
                  <a:lnTo>
                    <a:pt x="1261" y="344"/>
                  </a:lnTo>
                  <a:lnTo>
                    <a:pt x="1272" y="344"/>
                  </a:lnTo>
                  <a:lnTo>
                    <a:pt x="1272" y="344"/>
                  </a:lnTo>
                  <a:lnTo>
                    <a:pt x="1296" y="344"/>
                  </a:lnTo>
                  <a:lnTo>
                    <a:pt x="1296" y="344"/>
                  </a:lnTo>
                  <a:lnTo>
                    <a:pt x="1308" y="344"/>
                  </a:lnTo>
                  <a:lnTo>
                    <a:pt x="1308" y="344"/>
                  </a:lnTo>
                  <a:lnTo>
                    <a:pt x="1331" y="344"/>
                  </a:lnTo>
                  <a:lnTo>
                    <a:pt x="1331" y="344"/>
                  </a:lnTo>
                  <a:lnTo>
                    <a:pt x="1343" y="344"/>
                  </a:lnTo>
                  <a:lnTo>
                    <a:pt x="1343" y="344"/>
                  </a:lnTo>
                  <a:lnTo>
                    <a:pt x="1367" y="344"/>
                  </a:lnTo>
                  <a:lnTo>
                    <a:pt x="1367" y="344"/>
                  </a:lnTo>
                  <a:lnTo>
                    <a:pt x="1378" y="344"/>
                  </a:lnTo>
                  <a:lnTo>
                    <a:pt x="1378" y="344"/>
                  </a:lnTo>
                  <a:lnTo>
                    <a:pt x="1402" y="344"/>
                  </a:lnTo>
                  <a:lnTo>
                    <a:pt x="1402" y="344"/>
                  </a:lnTo>
                  <a:lnTo>
                    <a:pt x="1414" y="344"/>
                  </a:lnTo>
                  <a:lnTo>
                    <a:pt x="1414" y="344"/>
                  </a:lnTo>
                  <a:lnTo>
                    <a:pt x="1437" y="344"/>
                  </a:lnTo>
                  <a:lnTo>
                    <a:pt x="1437" y="344"/>
                  </a:lnTo>
                  <a:lnTo>
                    <a:pt x="1449" y="344"/>
                  </a:lnTo>
                  <a:lnTo>
                    <a:pt x="1449" y="344"/>
                  </a:lnTo>
                  <a:lnTo>
                    <a:pt x="1475" y="344"/>
                  </a:lnTo>
                  <a:lnTo>
                    <a:pt x="1475" y="344"/>
                  </a:lnTo>
                  <a:lnTo>
                    <a:pt x="1487" y="344"/>
                  </a:lnTo>
                  <a:lnTo>
                    <a:pt x="1487" y="344"/>
                  </a:lnTo>
                  <a:lnTo>
                    <a:pt x="1534" y="344"/>
                  </a:lnTo>
                  <a:lnTo>
                    <a:pt x="1534" y="344"/>
                  </a:lnTo>
                  <a:lnTo>
                    <a:pt x="1546" y="344"/>
                  </a:lnTo>
                  <a:lnTo>
                    <a:pt x="1546" y="344"/>
                  </a:lnTo>
                  <a:lnTo>
                    <a:pt x="1569" y="344"/>
                  </a:lnTo>
                  <a:lnTo>
                    <a:pt x="1569" y="344"/>
                  </a:lnTo>
                  <a:lnTo>
                    <a:pt x="1581" y="344"/>
                  </a:lnTo>
                  <a:lnTo>
                    <a:pt x="1581" y="344"/>
                  </a:lnTo>
                  <a:lnTo>
                    <a:pt x="1605" y="344"/>
                  </a:lnTo>
                  <a:lnTo>
                    <a:pt x="1605" y="344"/>
                  </a:lnTo>
                  <a:lnTo>
                    <a:pt x="1616" y="344"/>
                  </a:lnTo>
                  <a:lnTo>
                    <a:pt x="1616" y="344"/>
                  </a:lnTo>
                  <a:lnTo>
                    <a:pt x="1640" y="344"/>
                  </a:lnTo>
                  <a:lnTo>
                    <a:pt x="1640" y="344"/>
                  </a:lnTo>
                  <a:lnTo>
                    <a:pt x="1652" y="344"/>
                  </a:lnTo>
                  <a:lnTo>
                    <a:pt x="1652" y="344"/>
                  </a:lnTo>
                  <a:lnTo>
                    <a:pt x="1675" y="344"/>
                  </a:lnTo>
                  <a:lnTo>
                    <a:pt x="1675" y="344"/>
                  </a:lnTo>
                  <a:lnTo>
                    <a:pt x="1687" y="344"/>
                  </a:lnTo>
                  <a:lnTo>
                    <a:pt x="1687" y="344"/>
                  </a:lnTo>
                  <a:lnTo>
                    <a:pt x="1713" y="344"/>
                  </a:lnTo>
                  <a:lnTo>
                    <a:pt x="1713" y="344"/>
                  </a:lnTo>
                  <a:lnTo>
                    <a:pt x="1725" y="344"/>
                  </a:lnTo>
                  <a:lnTo>
                    <a:pt x="1725" y="344"/>
                  </a:lnTo>
                  <a:lnTo>
                    <a:pt x="1748" y="344"/>
                  </a:lnTo>
                  <a:lnTo>
                    <a:pt x="1748" y="344"/>
                  </a:lnTo>
                  <a:lnTo>
                    <a:pt x="1760" y="344"/>
                  </a:lnTo>
                  <a:lnTo>
                    <a:pt x="1760" y="344"/>
                  </a:lnTo>
                  <a:lnTo>
                    <a:pt x="1807" y="344"/>
                  </a:lnTo>
                  <a:lnTo>
                    <a:pt x="1807" y="344"/>
                  </a:lnTo>
                  <a:lnTo>
                    <a:pt x="1854" y="344"/>
                  </a:lnTo>
                  <a:lnTo>
                    <a:pt x="1854" y="344"/>
                  </a:lnTo>
                  <a:lnTo>
                    <a:pt x="1878" y="344"/>
                  </a:lnTo>
                  <a:lnTo>
                    <a:pt x="1878" y="344"/>
                  </a:lnTo>
                  <a:lnTo>
                    <a:pt x="1890" y="344"/>
                  </a:lnTo>
                  <a:lnTo>
                    <a:pt x="1890" y="344"/>
                  </a:lnTo>
                  <a:lnTo>
                    <a:pt x="1913" y="344"/>
                  </a:lnTo>
                  <a:lnTo>
                    <a:pt x="1913" y="344"/>
                  </a:lnTo>
                  <a:lnTo>
                    <a:pt x="1925" y="344"/>
                  </a:lnTo>
                  <a:lnTo>
                    <a:pt x="1925" y="344"/>
                  </a:lnTo>
                  <a:lnTo>
                    <a:pt x="1951" y="344"/>
                  </a:lnTo>
                  <a:lnTo>
                    <a:pt x="1951" y="344"/>
                  </a:lnTo>
                  <a:lnTo>
                    <a:pt x="1963" y="344"/>
                  </a:lnTo>
                  <a:lnTo>
                    <a:pt x="1963" y="344"/>
                  </a:lnTo>
                  <a:lnTo>
                    <a:pt x="1986" y="344"/>
                  </a:lnTo>
                  <a:lnTo>
                    <a:pt x="1986" y="344"/>
                  </a:lnTo>
                  <a:lnTo>
                    <a:pt x="1998" y="344"/>
                  </a:lnTo>
                  <a:lnTo>
                    <a:pt x="1998" y="344"/>
                  </a:lnTo>
                  <a:lnTo>
                    <a:pt x="2022" y="344"/>
                  </a:lnTo>
                  <a:lnTo>
                    <a:pt x="2022" y="344"/>
                  </a:lnTo>
                  <a:lnTo>
                    <a:pt x="2033" y="344"/>
                  </a:lnTo>
                  <a:lnTo>
                    <a:pt x="2033" y="344"/>
                  </a:lnTo>
                  <a:lnTo>
                    <a:pt x="2057" y="344"/>
                  </a:lnTo>
                  <a:lnTo>
                    <a:pt x="2057" y="344"/>
                  </a:lnTo>
                  <a:lnTo>
                    <a:pt x="2069" y="344"/>
                  </a:lnTo>
                  <a:lnTo>
                    <a:pt x="2069" y="344"/>
                  </a:lnTo>
                  <a:lnTo>
                    <a:pt x="2092" y="344"/>
                  </a:lnTo>
                  <a:lnTo>
                    <a:pt x="2092" y="344"/>
                  </a:lnTo>
                  <a:lnTo>
                    <a:pt x="2104" y="344"/>
                  </a:lnTo>
                  <a:lnTo>
                    <a:pt x="2104" y="344"/>
                  </a:lnTo>
                  <a:lnTo>
                    <a:pt x="2128" y="344"/>
                  </a:lnTo>
                  <a:lnTo>
                    <a:pt x="2128" y="344"/>
                  </a:lnTo>
                  <a:lnTo>
                    <a:pt x="2139" y="344"/>
                  </a:lnTo>
                  <a:lnTo>
                    <a:pt x="2139" y="344"/>
                  </a:lnTo>
                  <a:lnTo>
                    <a:pt x="2163" y="344"/>
                  </a:lnTo>
                  <a:lnTo>
                    <a:pt x="2163" y="344"/>
                  </a:lnTo>
                  <a:lnTo>
                    <a:pt x="2175" y="344"/>
                  </a:lnTo>
                  <a:lnTo>
                    <a:pt x="2175" y="344"/>
                  </a:lnTo>
                  <a:lnTo>
                    <a:pt x="2201" y="344"/>
                  </a:lnTo>
                  <a:lnTo>
                    <a:pt x="2201" y="344"/>
                  </a:lnTo>
                  <a:lnTo>
                    <a:pt x="2248" y="344"/>
                  </a:lnTo>
                  <a:lnTo>
                    <a:pt x="2248" y="344"/>
                  </a:lnTo>
                  <a:lnTo>
                    <a:pt x="2271" y="344"/>
                  </a:lnTo>
                  <a:lnTo>
                    <a:pt x="2271" y="344"/>
                  </a:lnTo>
                  <a:lnTo>
                    <a:pt x="2283" y="344"/>
                  </a:lnTo>
                  <a:lnTo>
                    <a:pt x="2283" y="344"/>
                  </a:lnTo>
                  <a:lnTo>
                    <a:pt x="2307" y="344"/>
                  </a:lnTo>
                  <a:lnTo>
                    <a:pt x="2307" y="344"/>
                  </a:lnTo>
                  <a:lnTo>
                    <a:pt x="2318" y="344"/>
                  </a:lnTo>
                  <a:lnTo>
                    <a:pt x="2318" y="344"/>
                  </a:lnTo>
                  <a:lnTo>
                    <a:pt x="2366" y="344"/>
                  </a:lnTo>
                  <a:lnTo>
                    <a:pt x="2366" y="344"/>
                  </a:lnTo>
                  <a:lnTo>
                    <a:pt x="2366" y="82"/>
                  </a:lnTo>
                  <a:close/>
                </a:path>
              </a:pathLst>
            </a:custGeom>
            <a:solidFill>
              <a:schemeClr val="accent1">
                <a:alpha val="76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ocabulary</a:t>
            </a:r>
            <a:endParaRPr lang="en-US" dirty="0"/>
          </a:p>
        </p:txBody>
      </p:sp>
      <p:cxnSp>
        <p:nvCxnSpPr>
          <p:cNvPr id="59" name="Straight Connector 58"/>
          <p:cNvCxnSpPr/>
          <p:nvPr/>
        </p:nvCxnSpPr>
        <p:spPr>
          <a:xfrm>
            <a:off x="746421" y="2271240"/>
            <a:ext cx="0" cy="2086533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4" name="Oval 123"/>
          <p:cNvSpPr/>
          <p:nvPr/>
        </p:nvSpPr>
        <p:spPr>
          <a:xfrm>
            <a:off x="1860786" y="1715078"/>
            <a:ext cx="904780" cy="904780"/>
          </a:xfrm>
          <a:prstGeom prst="ellipse">
            <a:avLst/>
          </a:prstGeom>
          <a:gradFill>
            <a:gsLst>
              <a:gs pos="0">
                <a:schemeClr val="accent1">
                  <a:alpha val="84000"/>
                </a:schemeClr>
              </a:gs>
              <a:gs pos="100000">
                <a:schemeClr val="accent2">
                  <a:alpha val="8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1" name="Content Placeholder 2"/>
          <p:cNvSpPr txBox="1">
            <a:spLocks/>
          </p:cNvSpPr>
          <p:nvPr/>
        </p:nvSpPr>
        <p:spPr>
          <a:xfrm>
            <a:off x="1251555" y="3988896"/>
            <a:ext cx="2101157" cy="368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 algn="ctr"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sz="1800" b="0" dirty="0">
                <a:latin typeface="Bebas Neue" panose="020B0606020202050201" pitchFamily="34" charset="0"/>
              </a:rPr>
              <a:t>l</a:t>
            </a:r>
            <a:r>
              <a:rPr lang="en-US" sz="1800" b="0" dirty="0" smtClean="0">
                <a:latin typeface="Bebas Neue" panose="020B0606020202050201" pitchFamily="34" charset="0"/>
              </a:rPr>
              <a:t>ast name</a:t>
            </a:r>
            <a:endParaRPr lang="en-US" sz="1800" b="0" dirty="0">
              <a:latin typeface="Bebas Neue" panose="020B0606020202050201" pitchFamily="34" charset="0"/>
            </a:endParaRPr>
          </a:p>
        </p:txBody>
      </p:sp>
      <p:sp>
        <p:nvSpPr>
          <p:cNvPr id="152" name="Rectangle 151"/>
          <p:cNvSpPr/>
          <p:nvPr/>
        </p:nvSpPr>
        <p:spPr>
          <a:xfrm>
            <a:off x="1198811" y="4321206"/>
            <a:ext cx="220664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buClr>
                <a:srgbClr val="E24848"/>
              </a:buClr>
            </a:pPr>
            <a:r>
              <a:rPr lang="en-US" sz="14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prezime</a:t>
            </a:r>
            <a:endParaRPr lang="en-US" sz="14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95" name="Straight Connector 94"/>
          <p:cNvCxnSpPr/>
          <p:nvPr/>
        </p:nvCxnSpPr>
        <p:spPr>
          <a:xfrm>
            <a:off x="4175000" y="2349500"/>
            <a:ext cx="0" cy="252427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Oval 124"/>
          <p:cNvSpPr/>
          <p:nvPr/>
        </p:nvSpPr>
        <p:spPr>
          <a:xfrm>
            <a:off x="3722610" y="1271270"/>
            <a:ext cx="904780" cy="904780"/>
          </a:xfrm>
          <a:prstGeom prst="ellipse">
            <a:avLst/>
          </a:prstGeom>
          <a:gradFill>
            <a:gsLst>
              <a:gs pos="0">
                <a:schemeClr val="accent1">
                  <a:alpha val="84000"/>
                </a:schemeClr>
              </a:gs>
              <a:gs pos="100000">
                <a:schemeClr val="accent2">
                  <a:alpha val="8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3" name="Content Placeholder 2"/>
          <p:cNvSpPr txBox="1">
            <a:spLocks/>
          </p:cNvSpPr>
          <p:nvPr/>
        </p:nvSpPr>
        <p:spPr>
          <a:xfrm>
            <a:off x="3148488" y="5030818"/>
            <a:ext cx="2101157" cy="368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 algn="ctr"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sz="1800" b="0" dirty="0" smtClean="0">
                <a:latin typeface="Bebas Neue" panose="020B0606020202050201" pitchFamily="34" charset="0"/>
              </a:rPr>
              <a:t>nationality</a:t>
            </a:r>
            <a:endParaRPr lang="en-US" sz="1800" b="0" dirty="0">
              <a:latin typeface="Bebas Neue" panose="020B0606020202050201" pitchFamily="34" charset="0"/>
            </a:endParaRPr>
          </a:p>
        </p:txBody>
      </p:sp>
      <p:sp>
        <p:nvSpPr>
          <p:cNvPr id="164" name="Rectangle 163"/>
          <p:cNvSpPr/>
          <p:nvPr/>
        </p:nvSpPr>
        <p:spPr>
          <a:xfrm>
            <a:off x="3095744" y="5373404"/>
            <a:ext cx="220664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buClr>
                <a:srgbClr val="E24848"/>
              </a:buClr>
            </a:pPr>
            <a:r>
              <a:rPr lang="en-US" sz="14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nacionalnost</a:t>
            </a:r>
            <a:endParaRPr lang="en-US" sz="14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97" name="Straight Connector 96"/>
          <p:cNvCxnSpPr/>
          <p:nvPr/>
        </p:nvCxnSpPr>
        <p:spPr>
          <a:xfrm>
            <a:off x="6090479" y="2734925"/>
            <a:ext cx="0" cy="1389674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Oval 102"/>
          <p:cNvSpPr/>
          <p:nvPr/>
        </p:nvSpPr>
        <p:spPr>
          <a:xfrm>
            <a:off x="5633748" y="1682666"/>
            <a:ext cx="904780" cy="904780"/>
          </a:xfrm>
          <a:prstGeom prst="ellipse">
            <a:avLst/>
          </a:prstGeom>
          <a:gradFill>
            <a:gsLst>
              <a:gs pos="0">
                <a:schemeClr val="accent1">
                  <a:alpha val="84000"/>
                </a:schemeClr>
              </a:gs>
              <a:gs pos="100000">
                <a:schemeClr val="accent2">
                  <a:alpha val="8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6" name="Content Placeholder 2"/>
          <p:cNvSpPr txBox="1">
            <a:spLocks/>
          </p:cNvSpPr>
          <p:nvPr/>
        </p:nvSpPr>
        <p:spPr>
          <a:xfrm>
            <a:off x="5045421" y="4209221"/>
            <a:ext cx="2101157" cy="368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 algn="ctr"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sz="1800" b="0" dirty="0">
                <a:latin typeface="Bebas Neue" panose="020B0606020202050201" pitchFamily="34" charset="0"/>
              </a:rPr>
              <a:t>h</a:t>
            </a:r>
            <a:r>
              <a:rPr lang="en-US" sz="1800" b="0" dirty="0" smtClean="0">
                <a:latin typeface="Bebas Neue" panose="020B0606020202050201" pitchFamily="34" charset="0"/>
              </a:rPr>
              <a:t>ome phone number</a:t>
            </a:r>
            <a:endParaRPr lang="en-US" sz="1800" b="0" dirty="0">
              <a:latin typeface="Bebas Neue" panose="020B0606020202050201" pitchFamily="34" charset="0"/>
            </a:endParaRPr>
          </a:p>
        </p:txBody>
      </p:sp>
      <p:sp>
        <p:nvSpPr>
          <p:cNvPr id="167" name="Rectangle 166"/>
          <p:cNvSpPr/>
          <p:nvPr/>
        </p:nvSpPr>
        <p:spPr>
          <a:xfrm>
            <a:off x="4982815" y="4682326"/>
            <a:ext cx="220664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buClr>
                <a:srgbClr val="E24848"/>
              </a:buClr>
            </a:pPr>
            <a:r>
              <a:rPr lang="sr-Latn-RS" sz="1400" noProof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k</a:t>
            </a:r>
            <a:r>
              <a:rPr lang="sr-Latn-RS" sz="14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ućni broj</a:t>
            </a:r>
            <a:endParaRPr lang="en-US" sz="14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00" name="Straight Connector 99"/>
          <p:cNvCxnSpPr/>
          <p:nvPr/>
        </p:nvCxnSpPr>
        <p:spPr>
          <a:xfrm>
            <a:off x="9889865" y="2387600"/>
            <a:ext cx="0" cy="1515992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6" name="Oval 125"/>
          <p:cNvSpPr/>
          <p:nvPr/>
        </p:nvSpPr>
        <p:spPr>
          <a:xfrm>
            <a:off x="9449951" y="1454968"/>
            <a:ext cx="904780" cy="904780"/>
          </a:xfrm>
          <a:prstGeom prst="ellipse">
            <a:avLst/>
          </a:prstGeom>
          <a:gradFill>
            <a:gsLst>
              <a:gs pos="0">
                <a:schemeClr val="accent1">
                  <a:alpha val="84000"/>
                </a:schemeClr>
              </a:gs>
              <a:gs pos="100000">
                <a:schemeClr val="accent2">
                  <a:alpha val="8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9" name="Content Placeholder 2"/>
          <p:cNvSpPr txBox="1">
            <a:spLocks/>
          </p:cNvSpPr>
          <p:nvPr/>
        </p:nvSpPr>
        <p:spPr>
          <a:xfrm>
            <a:off x="8839289" y="3988896"/>
            <a:ext cx="2101157" cy="368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 algn="ctr"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sr-Latn-RS" sz="1800" b="0" dirty="0">
                <a:latin typeface="Bebas Neue" panose="020B0606020202050201" pitchFamily="34" charset="0"/>
              </a:rPr>
              <a:t>postcode</a:t>
            </a:r>
            <a:endParaRPr lang="en-US" sz="1800" b="0" dirty="0">
              <a:latin typeface="Bebas Neue" panose="020B0606020202050201" pitchFamily="34" charset="0"/>
            </a:endParaRPr>
          </a:p>
        </p:txBody>
      </p:sp>
      <p:sp>
        <p:nvSpPr>
          <p:cNvPr id="170" name="Rectangle 169"/>
          <p:cNvSpPr/>
          <p:nvPr/>
        </p:nvSpPr>
        <p:spPr>
          <a:xfrm>
            <a:off x="8786545" y="4357773"/>
            <a:ext cx="220664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buClr>
                <a:srgbClr val="E24848"/>
              </a:buClr>
            </a:pPr>
            <a:r>
              <a:rPr lang="sr-Latn-RS" sz="14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poštanski broj</a:t>
            </a:r>
            <a:endParaRPr lang="en-US" sz="14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23" name="Oval 122"/>
          <p:cNvSpPr/>
          <p:nvPr/>
        </p:nvSpPr>
        <p:spPr>
          <a:xfrm>
            <a:off x="7539343" y="1093633"/>
            <a:ext cx="904780" cy="904780"/>
          </a:xfrm>
          <a:prstGeom prst="ellipse">
            <a:avLst/>
          </a:prstGeom>
          <a:gradFill>
            <a:gsLst>
              <a:gs pos="0">
                <a:schemeClr val="accent1">
                  <a:alpha val="84000"/>
                </a:schemeClr>
              </a:gs>
              <a:gs pos="100000">
                <a:schemeClr val="accent2">
                  <a:alpha val="8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44" name="Straight Connector 143"/>
          <p:cNvCxnSpPr/>
          <p:nvPr/>
        </p:nvCxnSpPr>
        <p:spPr>
          <a:xfrm>
            <a:off x="7991733" y="2184400"/>
            <a:ext cx="0" cy="271413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2" name="Content Placeholder 2"/>
          <p:cNvSpPr txBox="1">
            <a:spLocks/>
          </p:cNvSpPr>
          <p:nvPr/>
        </p:nvSpPr>
        <p:spPr>
          <a:xfrm>
            <a:off x="6942355" y="5030818"/>
            <a:ext cx="2101157" cy="368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 algn="ctr"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sr-Latn-RS" sz="1800" b="0" dirty="0" smtClean="0">
                <a:latin typeface="Bebas Neue" panose="020B0606020202050201" pitchFamily="34" charset="0"/>
              </a:rPr>
              <a:t>work number</a:t>
            </a:r>
            <a:endParaRPr lang="en-US" sz="1800" b="0" dirty="0">
              <a:latin typeface="Bebas Neue" panose="020B0606020202050201" pitchFamily="34" charset="0"/>
            </a:endParaRPr>
          </a:p>
        </p:txBody>
      </p:sp>
      <p:sp>
        <p:nvSpPr>
          <p:cNvPr id="173" name="Rectangle 172"/>
          <p:cNvSpPr/>
          <p:nvPr/>
        </p:nvSpPr>
        <p:spPr>
          <a:xfrm>
            <a:off x="6888410" y="5387259"/>
            <a:ext cx="2206645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buClr>
                <a:srgbClr val="E24848"/>
              </a:buClr>
            </a:pPr>
            <a:r>
              <a:rPr lang="sr-Latn-RS" sz="14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broj telefona na poslu</a:t>
            </a:r>
            <a:endParaRPr lang="en-US" sz="14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58" name="Oval 57"/>
          <p:cNvSpPr/>
          <p:nvPr/>
        </p:nvSpPr>
        <p:spPr>
          <a:xfrm>
            <a:off x="294031" y="1230276"/>
            <a:ext cx="904780" cy="904780"/>
          </a:xfrm>
          <a:prstGeom prst="ellipse">
            <a:avLst/>
          </a:prstGeom>
          <a:gradFill>
            <a:gsLst>
              <a:gs pos="0">
                <a:schemeClr val="accent1">
                  <a:alpha val="84000"/>
                </a:schemeClr>
              </a:gs>
              <a:gs pos="100000">
                <a:schemeClr val="accent2">
                  <a:alpha val="8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0" name="Content Placeholder 2"/>
          <p:cNvSpPr txBox="1">
            <a:spLocks/>
          </p:cNvSpPr>
          <p:nvPr/>
        </p:nvSpPr>
        <p:spPr>
          <a:xfrm>
            <a:off x="-240371" y="4321206"/>
            <a:ext cx="2101157" cy="368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 algn="ctr">
              <a:defRPr sz="16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sz="1800" b="0" dirty="0" smtClean="0">
                <a:latin typeface="Bebas Neue" panose="020B0606020202050201" pitchFamily="34" charset="0"/>
              </a:rPr>
              <a:t>first name</a:t>
            </a:r>
            <a:endParaRPr lang="en-US" sz="1800" b="0" dirty="0">
              <a:latin typeface="Bebas Neue" panose="020B0606020202050201" pitchFamily="34" charset="0"/>
            </a:endParaRPr>
          </a:p>
        </p:txBody>
      </p:sp>
      <p:cxnSp>
        <p:nvCxnSpPr>
          <p:cNvPr id="61" name="Straight Connector 60"/>
          <p:cNvCxnSpPr/>
          <p:nvPr/>
        </p:nvCxnSpPr>
        <p:spPr>
          <a:xfrm>
            <a:off x="2302133" y="2734925"/>
            <a:ext cx="0" cy="1312664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Rectangle 67"/>
          <p:cNvSpPr/>
          <p:nvPr/>
        </p:nvSpPr>
        <p:spPr>
          <a:xfrm>
            <a:off x="194582" y="4647543"/>
            <a:ext cx="1231250" cy="30777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buClr>
                <a:srgbClr val="E24848"/>
              </a:buClr>
            </a:pPr>
            <a:r>
              <a:rPr lang="en-US" sz="1400" noProof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i</a:t>
            </a:r>
            <a:r>
              <a:rPr lang="en-US" sz="14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me </a:t>
            </a:r>
            <a:endParaRPr lang="en-US" sz="14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5" name="Oval 34"/>
          <p:cNvSpPr/>
          <p:nvPr/>
        </p:nvSpPr>
        <p:spPr>
          <a:xfrm>
            <a:off x="11274446" y="818880"/>
            <a:ext cx="904780" cy="904780"/>
          </a:xfrm>
          <a:prstGeom prst="ellipse">
            <a:avLst/>
          </a:prstGeom>
          <a:gradFill>
            <a:gsLst>
              <a:gs pos="0">
                <a:schemeClr val="accent1">
                  <a:alpha val="84000"/>
                </a:schemeClr>
              </a:gs>
              <a:gs pos="100000">
                <a:schemeClr val="accent2">
                  <a:alpha val="85000"/>
                </a:schemeClr>
              </a:gs>
            </a:gsLst>
            <a:lin ang="189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6" name="Straight Connector 35"/>
          <p:cNvCxnSpPr/>
          <p:nvPr/>
        </p:nvCxnSpPr>
        <p:spPr>
          <a:xfrm>
            <a:off x="11726836" y="1907358"/>
            <a:ext cx="0" cy="2714135"/>
          </a:xfrm>
          <a:prstGeom prst="line">
            <a:avLst/>
          </a:prstGeom>
          <a:ln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/>
        </p:nvSpPr>
        <p:spPr>
          <a:xfrm>
            <a:off x="10856881" y="4690083"/>
            <a:ext cx="1326004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r-Latn-RS" dirty="0">
                <a:latin typeface="Bebas Neue" panose="020B0606020202050201" pitchFamily="34" charset="0"/>
              </a:rPr>
              <a:t>c</a:t>
            </a:r>
            <a:r>
              <a:rPr lang="sr-Latn-RS" dirty="0" smtClean="0">
                <a:latin typeface="Bebas Neue" panose="020B0606020202050201" pitchFamily="34" charset="0"/>
              </a:rPr>
              <a:t>redit card </a:t>
            </a:r>
          </a:p>
          <a:p>
            <a:r>
              <a:rPr lang="sr-Latn-RS" dirty="0" smtClean="0">
                <a:latin typeface="Bebas Neue" panose="020B0606020202050201" pitchFamily="34" charset="0"/>
              </a:rPr>
              <a:t>number</a:t>
            </a:r>
            <a:endParaRPr lang="en-US" dirty="0">
              <a:latin typeface="Bebas Neue" panose="020B0606020202050201" pitchFamily="34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0467171" y="5327446"/>
            <a:ext cx="1745991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buClr>
                <a:srgbClr val="E24848"/>
              </a:buClr>
            </a:pPr>
            <a:r>
              <a:rPr lang="en-US" sz="1400" noProof="1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b</a:t>
            </a:r>
            <a:r>
              <a:rPr lang="en-US" sz="14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roj kreditne kartice</a:t>
            </a:r>
            <a:endParaRPr lang="en-US" sz="14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4989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dirty="0" smtClean="0"/>
              <a:t>Questions </a:t>
            </a:r>
            <a:endParaRPr lang="sr-Latn-R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r-Latn-RS" dirty="0" smtClean="0"/>
              <a:t>Is she Australian? No, she is British.</a:t>
            </a:r>
          </a:p>
          <a:p>
            <a:r>
              <a:rPr lang="sr-Latn-RS" dirty="0" smtClean="0"/>
              <a:t>What</a:t>
            </a:r>
            <a:r>
              <a:rPr lang="en-US" dirty="0" smtClean="0"/>
              <a:t>’s her job? She’s a lawyer.</a:t>
            </a:r>
          </a:p>
          <a:p>
            <a:r>
              <a:rPr lang="en-US" dirty="0" smtClean="0"/>
              <a:t>Is she married or single? She’s married.</a:t>
            </a:r>
          </a:p>
          <a:p>
            <a:r>
              <a:rPr lang="en-US" dirty="0" smtClean="0"/>
              <a:t>How old is Molly? She is/She’s 26. (NOT She’s 26 years old)</a:t>
            </a:r>
          </a:p>
          <a:p>
            <a:r>
              <a:rPr lang="en-US" dirty="0" smtClean="0"/>
              <a:t>What’s your name? My name is Molly.</a:t>
            </a:r>
            <a:endParaRPr lang="sr-Latn-RS" dirty="0" smtClean="0"/>
          </a:p>
          <a:p>
            <a:r>
              <a:rPr lang="sr-Latn-RS" dirty="0" smtClean="0"/>
              <a:t>What</a:t>
            </a:r>
            <a:r>
              <a:rPr lang="en-US" dirty="0" smtClean="0"/>
              <a:t>’ s your surname? My surname is Blackwell.</a:t>
            </a:r>
          </a:p>
          <a:p>
            <a:r>
              <a:rPr lang="en-US" dirty="0" smtClean="0"/>
              <a:t>What’s your address? My address is </a:t>
            </a:r>
            <a:r>
              <a:rPr lang="en-US" dirty="0" err="1" smtClean="0"/>
              <a:t>Oktobarske</a:t>
            </a:r>
            <a:r>
              <a:rPr lang="en-US" dirty="0" smtClean="0"/>
              <a:t> </a:t>
            </a:r>
            <a:r>
              <a:rPr lang="en-US" dirty="0" err="1" smtClean="0"/>
              <a:t>Revolucije</a:t>
            </a:r>
            <a:r>
              <a:rPr lang="en-US" dirty="0" smtClean="0"/>
              <a:t> 13</a:t>
            </a:r>
          </a:p>
          <a:p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pPr/>
              <a:t>14</a:t>
            </a:fld>
            <a:endParaRPr lang="en-US" dirty="0"/>
          </a:p>
        </p:txBody>
      </p:sp>
      <p:sp>
        <p:nvSpPr>
          <p:cNvPr id="5" name="Minus 4"/>
          <p:cNvSpPr/>
          <p:nvPr/>
        </p:nvSpPr>
        <p:spPr>
          <a:xfrm>
            <a:off x="6830291" y="2960716"/>
            <a:ext cx="4114800" cy="45719"/>
          </a:xfrm>
          <a:prstGeom prst="mathMin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r-Latn-RS"/>
          </a:p>
        </p:txBody>
      </p:sp>
    </p:spTree>
    <p:extLst>
      <p:ext uri="{BB962C8B-B14F-4D97-AF65-F5344CB8AC3E}">
        <p14:creationId xmlns:p14="http://schemas.microsoft.com/office/powerpoint/2010/main" val="119946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sking people to repeat things</a:t>
            </a:r>
            <a:r>
              <a:rPr lang="sr-Latn-RS" dirty="0" smtClean="0"/>
              <a:t> </a:t>
            </a:r>
            <a:r>
              <a:rPr lang="sr-Latn-RS" sz="2200" dirty="0" smtClean="0"/>
              <a:t>(pitati ljude da ponove ono šta su rekli)</a:t>
            </a:r>
            <a:endParaRPr lang="sr-Latn-RS" sz="2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 1. Could you say that again, please? </a:t>
            </a:r>
          </a:p>
          <a:p>
            <a:pPr marL="0" indent="0">
              <a:buNone/>
            </a:pPr>
            <a:r>
              <a:rPr lang="en-US" dirty="0" smtClean="0"/>
              <a:t> 2. I’m sorry?</a:t>
            </a:r>
            <a:r>
              <a:rPr lang="sr-Latn-RS" dirty="0" smtClean="0"/>
              <a:t> </a:t>
            </a:r>
            <a:endParaRPr lang="en-US" dirty="0" smtClean="0"/>
          </a:p>
          <a:p>
            <a:pPr marL="0" indent="0">
              <a:buNone/>
            </a:pPr>
            <a:r>
              <a:rPr lang="en-US" dirty="0"/>
              <a:t> </a:t>
            </a:r>
            <a:r>
              <a:rPr lang="en-US" dirty="0" smtClean="0"/>
              <a:t>3. Sorry, Could you repeat that, please?</a:t>
            </a:r>
            <a:r>
              <a:rPr lang="sr-Latn-RS" dirty="0" smtClean="0"/>
              <a:t> </a:t>
            </a:r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1073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7" name="Chart 76"/>
          <p:cNvGraphicFramePr/>
          <p:nvPr>
            <p:extLst>
              <p:ext uri="{D42A27DB-BD31-4B8C-83A1-F6EECF244321}">
                <p14:modId xmlns:p14="http://schemas.microsoft.com/office/powerpoint/2010/main" val="3400793954"/>
              </p:ext>
            </p:extLst>
          </p:nvPr>
        </p:nvGraphicFramePr>
        <p:xfrm>
          <a:off x="3802279" y="1848756"/>
          <a:ext cx="4767206" cy="32784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pic>
        <p:nvPicPr>
          <p:cNvPr id="6" name="Picture Placeholder 5"/>
          <p:cNvPicPr>
            <a:picLocks noGrp="1" noChangeAspect="1"/>
          </p:cNvPicPr>
          <p:nvPr>
            <p:ph type="pic" sz="quarter" idx="13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solidFill>
            <a:schemeClr val="bg1">
              <a:lumMod val="85000"/>
            </a:schemeClr>
          </a:solidFill>
        </p:spPr>
      </p:pic>
      <p:grpSp>
        <p:nvGrpSpPr>
          <p:cNvPr id="5" name="Group 4"/>
          <p:cNvGrpSpPr/>
          <p:nvPr/>
        </p:nvGrpSpPr>
        <p:grpSpPr>
          <a:xfrm>
            <a:off x="1657856" y="2316751"/>
            <a:ext cx="2766167" cy="2361560"/>
            <a:chOff x="1453213" y="2260668"/>
            <a:chExt cx="2740833" cy="2361560"/>
          </a:xfrm>
        </p:grpSpPr>
        <p:cxnSp>
          <p:nvCxnSpPr>
            <p:cNvPr id="58" name="Straight Connector 57"/>
            <p:cNvCxnSpPr/>
            <p:nvPr/>
          </p:nvCxnSpPr>
          <p:spPr>
            <a:xfrm flipH="1">
              <a:off x="1453213" y="2260668"/>
              <a:ext cx="274083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/>
            <p:cNvCxnSpPr/>
            <p:nvPr/>
          </p:nvCxnSpPr>
          <p:spPr>
            <a:xfrm flipH="1">
              <a:off x="1453213" y="3441448"/>
              <a:ext cx="274083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/>
            <p:nvPr/>
          </p:nvCxnSpPr>
          <p:spPr>
            <a:xfrm flipH="1">
              <a:off x="1453213" y="4622228"/>
              <a:ext cx="274083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dirty="0" smtClean="0"/>
              <a:t>1D Lost Propert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99" name="Rectangle 98"/>
          <p:cNvSpPr/>
          <p:nvPr/>
        </p:nvSpPr>
        <p:spPr>
          <a:xfrm>
            <a:off x="3782289" y="362201"/>
            <a:ext cx="3117273" cy="5079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ctr"/>
          <a:lstStyle/>
          <a:p>
            <a:pPr algn="ctr"/>
            <a:r>
              <a:rPr lang="sr-Latn-RS" sz="2000" dirty="0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i</a:t>
            </a:r>
            <a:r>
              <a:rPr lang="sr-Latn-RS" sz="2000" dirty="0" smtClean="0">
                <a:solidFill>
                  <a:schemeClr val="bg1"/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zgubljeno vlasništvo</a:t>
            </a:r>
            <a:endParaRPr lang="en-US" sz="2000" dirty="0">
              <a:solidFill>
                <a:schemeClr val="bg1"/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3" name="Content Placeholder 2"/>
          <p:cNvSpPr txBox="1">
            <a:spLocks/>
          </p:cNvSpPr>
          <p:nvPr/>
        </p:nvSpPr>
        <p:spPr>
          <a:xfrm>
            <a:off x="1657856" y="1953570"/>
            <a:ext cx="2914144" cy="368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 algn="ctr"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l"/>
            <a:r>
              <a:rPr lang="sr-Latn-RS" sz="1800" b="0" dirty="0" smtClean="0">
                <a:latin typeface="Bebas Neue" panose="020B0606020202050201" pitchFamily="34" charset="0"/>
              </a:rPr>
              <a:t>diaries - dnevnici</a:t>
            </a:r>
            <a:endParaRPr lang="sr-Latn-RS" sz="1800" b="0" dirty="0">
              <a:latin typeface="Bebas Neue" panose="020B0606020202050201" pitchFamily="34" charset="0"/>
            </a:endParaRPr>
          </a:p>
          <a:p>
            <a:pPr algn="l"/>
            <a:r>
              <a:rPr lang="sr-Latn-RS" sz="1800" b="0" dirty="0">
                <a:latin typeface="Bebas Neue" panose="020B0606020202050201" pitchFamily="34" charset="0"/>
              </a:rPr>
              <a:t>s</a:t>
            </a:r>
            <a:r>
              <a:rPr lang="sr-Latn-RS" sz="1800" b="0" dirty="0" smtClean="0">
                <a:latin typeface="Bebas Neue" panose="020B0606020202050201" pitchFamily="34" charset="0"/>
              </a:rPr>
              <a:t>hoes - cipele</a:t>
            </a:r>
          </a:p>
          <a:p>
            <a:pPr algn="l"/>
            <a:r>
              <a:rPr lang="sr-Latn-RS" sz="1800" b="0" dirty="0">
                <a:latin typeface="Bebas Neue" panose="020B0606020202050201" pitchFamily="34" charset="0"/>
              </a:rPr>
              <a:t>c</a:t>
            </a:r>
            <a:r>
              <a:rPr lang="sr-Latn-RS" sz="1800" b="0" dirty="0" smtClean="0">
                <a:latin typeface="Bebas Neue" panose="020B0606020202050201" pitchFamily="34" charset="0"/>
              </a:rPr>
              <a:t>oats - kaputi</a:t>
            </a:r>
          </a:p>
          <a:p>
            <a:pPr algn="l"/>
            <a:r>
              <a:rPr lang="sr-Latn-RS" sz="1800" b="0" dirty="0">
                <a:latin typeface="Bebas Neue" panose="020B0606020202050201" pitchFamily="34" charset="0"/>
              </a:rPr>
              <a:t>a</a:t>
            </a:r>
            <a:r>
              <a:rPr lang="sr-Latn-RS" sz="1800" b="0" dirty="0" smtClean="0">
                <a:latin typeface="Bebas Neue" panose="020B0606020202050201" pitchFamily="34" charset="0"/>
              </a:rPr>
              <a:t>n umbrella - kisobran</a:t>
            </a:r>
          </a:p>
          <a:p>
            <a:pPr algn="l"/>
            <a:r>
              <a:rPr lang="sr-Latn-RS" sz="1800" b="0" dirty="0">
                <a:latin typeface="Bebas Neue" panose="020B0606020202050201" pitchFamily="34" charset="0"/>
              </a:rPr>
              <a:t>a</a:t>
            </a:r>
            <a:r>
              <a:rPr lang="sr-Latn-RS" sz="1800" b="0" dirty="0" smtClean="0">
                <a:latin typeface="Bebas Neue" panose="020B0606020202050201" pitchFamily="34" charset="0"/>
              </a:rPr>
              <a:t> Cd player – Cd plejer</a:t>
            </a:r>
          </a:p>
          <a:p>
            <a:pPr algn="l"/>
            <a:endParaRPr lang="sr-Latn-RS" sz="1800" b="0" dirty="0" smtClean="0">
              <a:latin typeface="Bebas Neue" panose="020B0606020202050201" pitchFamily="34" charset="0"/>
            </a:endParaRPr>
          </a:p>
          <a:p>
            <a:pPr algn="l"/>
            <a:endParaRPr lang="en-US" sz="1800" b="0" dirty="0">
              <a:latin typeface="Bebas Neue" panose="020B0606020202050201" pitchFamily="34" charset="0"/>
            </a:endParaRPr>
          </a:p>
        </p:txBody>
      </p:sp>
      <p:sp>
        <p:nvSpPr>
          <p:cNvPr id="92" name="Content Placeholder 2"/>
          <p:cNvSpPr txBox="1">
            <a:spLocks/>
          </p:cNvSpPr>
          <p:nvPr/>
        </p:nvSpPr>
        <p:spPr>
          <a:xfrm>
            <a:off x="1657857" y="3128654"/>
            <a:ext cx="3066544" cy="368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sr-Latn-RS" sz="1800" b="0" dirty="0" smtClean="0">
                <a:latin typeface="Bebas Neue" panose="020B0606020202050201" pitchFamily="34" charset="0"/>
              </a:rPr>
              <a:t>suitcases - koferi</a:t>
            </a:r>
          </a:p>
          <a:p>
            <a:r>
              <a:rPr lang="sr-Latn-RS" sz="1800" b="0" dirty="0" smtClean="0">
                <a:latin typeface="Bebas Neue" panose="020B0606020202050201" pitchFamily="34" charset="0"/>
              </a:rPr>
              <a:t>ID (identity) cards – lična karta</a:t>
            </a:r>
          </a:p>
          <a:p>
            <a:r>
              <a:rPr lang="sr-Latn-RS" sz="1800" b="0" dirty="0">
                <a:latin typeface="Bebas Neue" panose="020B0606020202050201" pitchFamily="34" charset="0"/>
              </a:rPr>
              <a:t>w</a:t>
            </a:r>
            <a:r>
              <a:rPr lang="sr-Latn-RS" sz="1800" b="0" dirty="0" smtClean="0">
                <a:latin typeface="Bebas Neue" panose="020B0606020202050201" pitchFamily="34" charset="0"/>
              </a:rPr>
              <a:t>atches - satovi</a:t>
            </a:r>
          </a:p>
          <a:p>
            <a:r>
              <a:rPr lang="sr-Latn-RS" sz="1800" b="0" dirty="0">
                <a:latin typeface="Bebas Neue" panose="020B0606020202050201" pitchFamily="34" charset="0"/>
              </a:rPr>
              <a:t>a</a:t>
            </a:r>
            <a:r>
              <a:rPr lang="sr-Latn-RS" sz="1800" b="0" dirty="0" smtClean="0">
                <a:latin typeface="Bebas Neue" panose="020B0606020202050201" pitchFamily="34" charset="0"/>
              </a:rPr>
              <a:t> camera – kamera</a:t>
            </a:r>
          </a:p>
          <a:p>
            <a:endParaRPr lang="en-US" sz="1800" b="0" dirty="0">
              <a:latin typeface="Bebas Neue" panose="020B0606020202050201" pitchFamily="34" charset="0"/>
            </a:endParaRPr>
          </a:p>
        </p:txBody>
      </p:sp>
      <p:sp>
        <p:nvSpPr>
          <p:cNvPr id="96" name="Content Placeholder 2"/>
          <p:cNvSpPr txBox="1">
            <a:spLocks/>
          </p:cNvSpPr>
          <p:nvPr/>
        </p:nvSpPr>
        <p:spPr>
          <a:xfrm>
            <a:off x="1657856" y="4315130"/>
            <a:ext cx="2766168" cy="368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sr-Latn-RS" sz="1800" b="0" dirty="0" smtClean="0">
                <a:latin typeface="Bebas Neue" panose="020B0606020202050201" pitchFamily="34" charset="0"/>
              </a:rPr>
              <a:t>wallets - novčanici</a:t>
            </a:r>
          </a:p>
          <a:p>
            <a:r>
              <a:rPr lang="sr-Latn-RS" sz="1800" b="0" dirty="0">
                <a:latin typeface="Bebas Neue" panose="020B0606020202050201" pitchFamily="34" charset="0"/>
              </a:rPr>
              <a:t>d</a:t>
            </a:r>
            <a:r>
              <a:rPr lang="sr-Latn-RS" sz="1800" b="0" dirty="0" smtClean="0">
                <a:latin typeface="Bebas Neue" panose="020B0606020202050201" pitchFamily="34" charset="0"/>
              </a:rPr>
              <a:t>resses - haljine</a:t>
            </a:r>
          </a:p>
          <a:p>
            <a:r>
              <a:rPr lang="sr-Latn-RS" sz="1800" b="0" dirty="0">
                <a:latin typeface="Bebas Neue" panose="020B0606020202050201" pitchFamily="34" charset="0"/>
              </a:rPr>
              <a:t>b</a:t>
            </a:r>
            <a:r>
              <a:rPr lang="sr-Latn-RS" sz="1800" b="0" dirty="0" smtClean="0">
                <a:latin typeface="Bebas Neue" panose="020B0606020202050201" pitchFamily="34" charset="0"/>
              </a:rPr>
              <a:t>ags - torbe</a:t>
            </a:r>
          </a:p>
          <a:p>
            <a:r>
              <a:rPr lang="sr-Latn-RS" sz="1800" b="0" dirty="0">
                <a:latin typeface="Bebas Neue" panose="020B0606020202050201" pitchFamily="34" charset="0"/>
              </a:rPr>
              <a:t>a</a:t>
            </a:r>
            <a:r>
              <a:rPr lang="sr-Latn-RS" sz="1800" b="0" dirty="0" smtClean="0">
                <a:latin typeface="Bebas Neue" panose="020B0606020202050201" pitchFamily="34" charset="0"/>
              </a:rPr>
              <a:t> bike/bicycle - bicikl</a:t>
            </a:r>
          </a:p>
          <a:p>
            <a:r>
              <a:rPr lang="sr-Latn-RS" sz="1800" b="0" dirty="0">
                <a:latin typeface="Bebas Neue" panose="020B0606020202050201" pitchFamily="34" charset="0"/>
              </a:rPr>
              <a:t>f</a:t>
            </a:r>
            <a:r>
              <a:rPr lang="sr-Latn-RS" sz="1800" b="0" dirty="0" smtClean="0">
                <a:latin typeface="Bebas Neue" panose="020B0606020202050201" pitchFamily="34" charset="0"/>
              </a:rPr>
              <a:t>alse teeth – lažni zubi</a:t>
            </a:r>
          </a:p>
        </p:txBody>
      </p:sp>
      <p:sp>
        <p:nvSpPr>
          <p:cNvPr id="30" name="Title 1"/>
          <p:cNvSpPr txBox="1">
            <a:spLocks/>
          </p:cNvSpPr>
          <p:nvPr/>
        </p:nvSpPr>
        <p:spPr>
          <a:xfrm>
            <a:off x="5101664" y="925539"/>
            <a:ext cx="2099510" cy="727075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200" b="0" kern="1200">
                <a:solidFill>
                  <a:schemeClr val="tx1">
                    <a:lumMod val="75000"/>
                    <a:lumOff val="25000"/>
                  </a:schemeClr>
                </a:solidFill>
                <a:latin typeface="Bebas Neue" panose="020B0606020202050201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sr-Latn-RS" sz="2800" dirty="0" smtClean="0"/>
              <a:t>Vocabulary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7280279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/>
          <p:cNvSpPr>
            <a:spLocks noGrp="1"/>
          </p:cNvSpPr>
          <p:nvPr>
            <p:ph type="pic" sz="quarter" idx="13"/>
          </p:nvPr>
        </p:nvSpPr>
        <p:spPr/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dirty="0" smtClean="0"/>
              <a:t>Plural of the Nouns</a:t>
            </a:r>
            <a:endParaRPr lang="sr-Latn-R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pPr/>
              <a:t>17</a:t>
            </a:fld>
            <a:endParaRPr lang="en-US" dirty="0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2545" y="872836"/>
            <a:ext cx="8839200" cy="5652655"/>
          </a:xfrm>
        </p:spPr>
      </p:pic>
      <p:sp>
        <p:nvSpPr>
          <p:cNvPr id="9" name="Rectangle 17"/>
          <p:cNvSpPr/>
          <p:nvPr/>
        </p:nvSpPr>
        <p:spPr>
          <a:xfrm flipH="1">
            <a:off x="8446840" y="455254"/>
            <a:ext cx="3038578" cy="1143769"/>
          </a:xfrm>
          <a:custGeom>
            <a:avLst/>
            <a:gdLst>
              <a:gd name="connsiteX0" fmla="*/ 0 w 383764"/>
              <a:gd name="connsiteY0" fmla="*/ 0 h 323421"/>
              <a:gd name="connsiteX1" fmla="*/ 383764 w 383764"/>
              <a:gd name="connsiteY1" fmla="*/ 0 h 323421"/>
              <a:gd name="connsiteX2" fmla="*/ 383764 w 383764"/>
              <a:gd name="connsiteY2" fmla="*/ 323421 h 323421"/>
              <a:gd name="connsiteX3" fmla="*/ 0 w 383764"/>
              <a:gd name="connsiteY3" fmla="*/ 323421 h 323421"/>
              <a:gd name="connsiteX4" fmla="*/ 0 w 383764"/>
              <a:gd name="connsiteY4" fmla="*/ 0 h 323421"/>
              <a:gd name="connsiteX0" fmla="*/ 171450 w 555214"/>
              <a:gd name="connsiteY0" fmla="*/ 0 h 323421"/>
              <a:gd name="connsiteX1" fmla="*/ 555214 w 555214"/>
              <a:gd name="connsiteY1" fmla="*/ 0 h 323421"/>
              <a:gd name="connsiteX2" fmla="*/ 555214 w 555214"/>
              <a:gd name="connsiteY2" fmla="*/ 323421 h 323421"/>
              <a:gd name="connsiteX3" fmla="*/ 0 w 555214"/>
              <a:gd name="connsiteY3" fmla="*/ 323421 h 323421"/>
              <a:gd name="connsiteX4" fmla="*/ 171450 w 555214"/>
              <a:gd name="connsiteY4" fmla="*/ 0 h 323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55214" h="323421">
                <a:moveTo>
                  <a:pt x="171450" y="0"/>
                </a:moveTo>
                <a:lnTo>
                  <a:pt x="555214" y="0"/>
                </a:lnTo>
                <a:lnTo>
                  <a:pt x="555214" y="323421"/>
                </a:lnTo>
                <a:lnTo>
                  <a:pt x="0" y="323421"/>
                </a:lnTo>
                <a:lnTo>
                  <a:pt x="171450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439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iew</a:t>
            </a:r>
            <a:endParaRPr lang="sr-Latn-R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596900" y="1340056"/>
            <a:ext cx="10896600" cy="4603543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1800" b="1" dirty="0" smtClean="0"/>
              <a:t>1. Complete </a:t>
            </a:r>
            <a:r>
              <a:rPr lang="en-US" sz="1800" b="1" dirty="0"/>
              <a:t>the sentences. Write the plural form of the correct word from the word </a:t>
            </a:r>
            <a:r>
              <a:rPr lang="en-US" sz="1800" b="1" dirty="0" smtClean="0"/>
              <a:t>pool in </a:t>
            </a:r>
            <a:r>
              <a:rPr lang="en-US" sz="1800" b="1" dirty="0"/>
              <a:t>each blank space</a:t>
            </a:r>
            <a:r>
              <a:rPr lang="en-US" sz="1600" dirty="0"/>
              <a:t>. </a:t>
            </a:r>
            <a:endParaRPr lang="en-US" sz="1600" dirty="0" smtClean="0"/>
          </a:p>
          <a:p>
            <a:pPr marL="0" indent="0">
              <a:buNone/>
            </a:pPr>
            <a:r>
              <a:rPr lang="en-US" sz="1600" dirty="0" smtClean="0"/>
              <a:t>                                            </a:t>
            </a:r>
            <a:r>
              <a:rPr lang="en-US" sz="1600" b="1" dirty="0" smtClean="0"/>
              <a:t>bush/knife/child/leaf/city/season/fish/tooth/foot/woman</a:t>
            </a:r>
          </a:p>
          <a:p>
            <a:r>
              <a:rPr lang="en-US" sz="1600" dirty="0" smtClean="0"/>
              <a:t>1</a:t>
            </a:r>
            <a:r>
              <a:rPr lang="en-US" sz="1600" dirty="0"/>
              <a:t>. There are three men and four __women_____________ in my art class. </a:t>
            </a:r>
            <a:endParaRPr lang="en-US" sz="1600" dirty="0" smtClean="0"/>
          </a:p>
          <a:p>
            <a:r>
              <a:rPr lang="en-US" sz="1600" dirty="0" smtClean="0"/>
              <a:t>2</a:t>
            </a:r>
            <a:r>
              <a:rPr lang="en-US" sz="1600" dirty="0"/>
              <a:t>. My neighbors next door have six _____________________. </a:t>
            </a:r>
            <a:endParaRPr lang="en-US" sz="1600" dirty="0" smtClean="0"/>
          </a:p>
          <a:p>
            <a:r>
              <a:rPr lang="en-US" sz="1600" dirty="0" smtClean="0"/>
              <a:t>3</a:t>
            </a:r>
            <a:r>
              <a:rPr lang="en-US" sz="1600" dirty="0"/>
              <a:t>. People have two arms, two hands, two legs, and two ____________________________. </a:t>
            </a:r>
            <a:endParaRPr lang="en-US" sz="1600" dirty="0" smtClean="0"/>
          </a:p>
          <a:p>
            <a:r>
              <a:rPr lang="en-US" sz="1600" dirty="0" smtClean="0"/>
              <a:t>4</a:t>
            </a:r>
            <a:r>
              <a:rPr lang="en-US" sz="1600" dirty="0"/>
              <a:t>. Humans have 32 _____________________ in their mouths by the time they are adults</a:t>
            </a:r>
            <a:r>
              <a:rPr lang="en-US" sz="1600" dirty="0" smtClean="0"/>
              <a:t>.</a:t>
            </a:r>
          </a:p>
          <a:p>
            <a:r>
              <a:rPr lang="en-US" sz="1600" dirty="0" smtClean="0"/>
              <a:t>5</a:t>
            </a:r>
            <a:r>
              <a:rPr lang="en-US" sz="1600" dirty="0"/>
              <a:t>. The _____________________ of the year are spring, summer, winter, and autumn, or fall</a:t>
            </a:r>
            <a:r>
              <a:rPr lang="en-US" sz="1600" dirty="0" smtClean="0"/>
              <a:t>.</a:t>
            </a:r>
          </a:p>
          <a:p>
            <a:r>
              <a:rPr lang="en-US" sz="1600" dirty="0" smtClean="0"/>
              <a:t>6</a:t>
            </a:r>
            <a:r>
              <a:rPr lang="en-US" sz="1600" dirty="0"/>
              <a:t>. The _____________________ on the trees change color in autumn. </a:t>
            </a:r>
            <a:endParaRPr lang="en-US" sz="1600" dirty="0" smtClean="0"/>
          </a:p>
          <a:p>
            <a:r>
              <a:rPr lang="en-US" sz="1600" dirty="0" smtClean="0"/>
              <a:t>7</a:t>
            </a:r>
            <a:r>
              <a:rPr lang="en-US" sz="1600" dirty="0"/>
              <a:t>. There are forks, _____________________, and spoons on the table</a:t>
            </a:r>
            <a:r>
              <a:rPr lang="en-US" sz="1600" dirty="0" smtClean="0"/>
              <a:t>.</a:t>
            </a:r>
          </a:p>
          <a:p>
            <a:r>
              <a:rPr lang="en-US" sz="1600" dirty="0" smtClean="0"/>
              <a:t>8</a:t>
            </a:r>
            <a:r>
              <a:rPr lang="en-US" sz="1600" dirty="0"/>
              <a:t>. There are trees, flowers, and _____________________ outside around my house. </a:t>
            </a:r>
            <a:endParaRPr lang="en-US" sz="1600" dirty="0" smtClean="0"/>
          </a:p>
          <a:p>
            <a:r>
              <a:rPr lang="en-US" sz="1600" dirty="0" smtClean="0"/>
              <a:t>9</a:t>
            </a:r>
            <a:r>
              <a:rPr lang="en-US" sz="1600" dirty="0"/>
              <a:t>. Mumbai and Calcutta are two ____________________ in India. </a:t>
            </a:r>
            <a:endParaRPr lang="en-US" sz="1600" dirty="0" smtClean="0"/>
          </a:p>
          <a:p>
            <a:r>
              <a:rPr lang="en-US" sz="1600" dirty="0" smtClean="0"/>
              <a:t>10</a:t>
            </a:r>
            <a:r>
              <a:rPr lang="en-US" sz="1600" dirty="0"/>
              <a:t>. My family has several pets. We have a dog, two cats, and five ____________________.</a:t>
            </a:r>
            <a:endParaRPr lang="sr-Latn-RS" sz="1600" dirty="0"/>
          </a:p>
        </p:txBody>
      </p:sp>
    </p:spTree>
    <p:extLst>
      <p:ext uri="{BB962C8B-B14F-4D97-AF65-F5344CB8AC3E}">
        <p14:creationId xmlns:p14="http://schemas.microsoft.com/office/powerpoint/2010/main" val="34306683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pPr/>
              <a:t>19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iew</a:t>
            </a:r>
            <a:endParaRPr lang="sr-Latn-RS" dirty="0"/>
          </a:p>
        </p:txBody>
      </p:sp>
      <p:sp>
        <p:nvSpPr>
          <p:cNvPr id="7" name="Content Placeholder 6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en-US" sz="2100" dirty="0" smtClean="0"/>
              <a:t>2. Choose </a:t>
            </a:r>
            <a:r>
              <a:rPr lang="en-US" sz="2100" dirty="0"/>
              <a:t>the correct form of "to be" in present </a:t>
            </a:r>
            <a:r>
              <a:rPr lang="en-US" sz="2100" dirty="0" smtClean="0"/>
              <a:t>tense.</a:t>
            </a:r>
          </a:p>
          <a:p>
            <a:r>
              <a:rPr lang="en-US" sz="1900" dirty="0" smtClean="0"/>
              <a:t>1. The </a:t>
            </a:r>
            <a:r>
              <a:rPr lang="en-US" sz="1900" dirty="0"/>
              <a:t>bag (be) ________ blue. A. am B. are C. is </a:t>
            </a:r>
            <a:endParaRPr lang="en-US" sz="1900" dirty="0" smtClean="0"/>
          </a:p>
          <a:p>
            <a:r>
              <a:rPr lang="en-US" sz="1900" dirty="0" smtClean="0"/>
              <a:t>2</a:t>
            </a:r>
            <a:r>
              <a:rPr lang="en-US" sz="1900" dirty="0"/>
              <a:t>.</a:t>
            </a:r>
            <a:r>
              <a:rPr lang="en-US" sz="1900" dirty="0" smtClean="0"/>
              <a:t> </a:t>
            </a:r>
            <a:r>
              <a:rPr lang="en-US" sz="1900" dirty="0"/>
              <a:t>The rocks (be) ________ hard. A. am B. are C. </a:t>
            </a:r>
            <a:r>
              <a:rPr lang="en-US" sz="1900" dirty="0" smtClean="0"/>
              <a:t>is</a:t>
            </a:r>
          </a:p>
          <a:p>
            <a:r>
              <a:rPr lang="en-US" sz="1900" dirty="0" smtClean="0"/>
              <a:t>3. </a:t>
            </a:r>
            <a:r>
              <a:rPr lang="en-US" sz="1900" dirty="0"/>
              <a:t>The children (be) ________ young. A. am B. are C. </a:t>
            </a:r>
            <a:r>
              <a:rPr lang="en-US" sz="1900" dirty="0" smtClean="0"/>
              <a:t>is</a:t>
            </a:r>
          </a:p>
          <a:p>
            <a:r>
              <a:rPr lang="en-US" sz="1900" dirty="0" smtClean="0"/>
              <a:t>4. </a:t>
            </a:r>
            <a:r>
              <a:rPr lang="en-US" sz="1900" dirty="0"/>
              <a:t>Thomas (be) ________ nice. A. am B. are C. </a:t>
            </a:r>
            <a:r>
              <a:rPr lang="en-US" sz="1900" dirty="0" smtClean="0"/>
              <a:t>is</a:t>
            </a:r>
          </a:p>
          <a:p>
            <a:r>
              <a:rPr lang="en-US" sz="1900" dirty="0" smtClean="0"/>
              <a:t>5. </a:t>
            </a:r>
            <a:r>
              <a:rPr lang="en-US" sz="1900" dirty="0"/>
              <a:t>The game (be) ________ difficult. A. am B. are C. </a:t>
            </a:r>
            <a:r>
              <a:rPr lang="en-US" sz="1900" dirty="0" smtClean="0"/>
              <a:t>is</a:t>
            </a:r>
          </a:p>
          <a:p>
            <a:r>
              <a:rPr lang="en-US" sz="1900" dirty="0" smtClean="0"/>
              <a:t>6. </a:t>
            </a:r>
            <a:r>
              <a:rPr lang="en-US" sz="1900" dirty="0"/>
              <a:t>They (be) ________ tired. A. am B. are C. </a:t>
            </a:r>
            <a:r>
              <a:rPr lang="en-US" sz="1900" dirty="0" smtClean="0"/>
              <a:t>is</a:t>
            </a:r>
          </a:p>
          <a:p>
            <a:r>
              <a:rPr lang="en-US" sz="1900" dirty="0" smtClean="0"/>
              <a:t>7. </a:t>
            </a:r>
            <a:r>
              <a:rPr lang="en-US" sz="1900" dirty="0"/>
              <a:t>I (be) ________ thirty years old. A. am B. are C. </a:t>
            </a:r>
            <a:r>
              <a:rPr lang="en-US" sz="1900" dirty="0" smtClean="0"/>
              <a:t>is</a:t>
            </a:r>
          </a:p>
          <a:p>
            <a:r>
              <a:rPr lang="en-US" sz="1900" dirty="0" smtClean="0"/>
              <a:t>8. Susan </a:t>
            </a:r>
            <a:r>
              <a:rPr lang="en-US" sz="1900" dirty="0"/>
              <a:t>and Juan (be) ________ married. A. am B. are C. </a:t>
            </a:r>
            <a:r>
              <a:rPr lang="en-US" sz="1900" dirty="0" smtClean="0"/>
              <a:t>is</a:t>
            </a:r>
          </a:p>
          <a:p>
            <a:r>
              <a:rPr lang="en-US" sz="1900" dirty="0" smtClean="0"/>
              <a:t>9. Teddy </a:t>
            </a:r>
            <a:r>
              <a:rPr lang="en-US" sz="1900" dirty="0"/>
              <a:t>(be) ________ my friend. A. am B. are C. </a:t>
            </a:r>
            <a:r>
              <a:rPr lang="en-US" sz="1900" dirty="0" smtClean="0"/>
              <a:t>is</a:t>
            </a:r>
          </a:p>
          <a:p>
            <a:r>
              <a:rPr lang="en-US" sz="1900" dirty="0" smtClean="0"/>
              <a:t>10.</a:t>
            </a:r>
            <a:r>
              <a:rPr lang="en-US" sz="1900" dirty="0"/>
              <a:t> </a:t>
            </a:r>
            <a:r>
              <a:rPr lang="en-US" sz="1900" dirty="0" smtClean="0"/>
              <a:t>We </a:t>
            </a:r>
            <a:r>
              <a:rPr lang="en-US" sz="1900" dirty="0"/>
              <a:t>(be) ________ in English class. A. am B. are C. is </a:t>
            </a:r>
            <a:endParaRPr lang="sr-Latn-RS" sz="1900" dirty="0"/>
          </a:p>
        </p:txBody>
      </p:sp>
    </p:spTree>
    <p:extLst>
      <p:ext uri="{BB962C8B-B14F-4D97-AF65-F5344CB8AC3E}">
        <p14:creationId xmlns:p14="http://schemas.microsoft.com/office/powerpoint/2010/main" val="909704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Greetings (</a:t>
            </a:r>
            <a:r>
              <a:rPr lang="en-US" dirty="0" err="1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Pozdravi</a:t>
            </a:r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)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1558727" y="2755401"/>
            <a:ext cx="3747200" cy="738715"/>
            <a:chOff x="1130300" y="3350130"/>
            <a:chExt cx="3292237" cy="738715"/>
          </a:xfrm>
        </p:grpSpPr>
        <p:cxnSp>
          <p:nvCxnSpPr>
            <p:cNvPr id="16" name="Straight Connector 15"/>
            <p:cNvCxnSpPr/>
            <p:nvPr/>
          </p:nvCxnSpPr>
          <p:spPr>
            <a:xfrm flipH="1" flipV="1">
              <a:off x="4054237" y="3350130"/>
              <a:ext cx="368300" cy="73871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 flipH="1">
              <a:off x="1130300" y="3350130"/>
              <a:ext cx="2927855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/>
          <p:cNvGrpSpPr/>
          <p:nvPr/>
        </p:nvGrpSpPr>
        <p:grpSpPr>
          <a:xfrm flipH="1">
            <a:off x="6671729" y="1912568"/>
            <a:ext cx="3937459" cy="738715"/>
            <a:chOff x="1153982" y="3350130"/>
            <a:chExt cx="3268555" cy="738715"/>
          </a:xfrm>
        </p:grpSpPr>
        <p:cxnSp>
          <p:nvCxnSpPr>
            <p:cNvPr id="22" name="Straight Connector 21"/>
            <p:cNvCxnSpPr/>
            <p:nvPr/>
          </p:nvCxnSpPr>
          <p:spPr>
            <a:xfrm flipH="1" flipV="1">
              <a:off x="4054237" y="3350130"/>
              <a:ext cx="368300" cy="73871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/>
          </p:nvCxnSpPr>
          <p:spPr>
            <a:xfrm flipH="1">
              <a:off x="1153982" y="3350130"/>
              <a:ext cx="2904173" cy="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5" name="Rectangle 24"/>
          <p:cNvSpPr/>
          <p:nvPr/>
        </p:nvSpPr>
        <p:spPr>
          <a:xfrm>
            <a:off x="2645455" y="5020320"/>
            <a:ext cx="6514390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buClr>
                <a:srgbClr val="E24848"/>
              </a:buClr>
              <a:defRPr/>
            </a:pPr>
            <a:r>
              <a:rPr lang="sr-Latn-RS" sz="1600" i="1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charset="0"/>
              </a:rPr>
              <a:t>- How are you</a:t>
            </a:r>
            <a:r>
              <a:rPr lang="en-US" sz="1600" i="1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charset="0"/>
              </a:rPr>
              <a:t>?</a:t>
            </a:r>
            <a:r>
              <a:rPr lang="sr-Latn-RS" sz="1600" i="1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charset="0"/>
              </a:rPr>
              <a:t> (Kako si?)</a:t>
            </a:r>
            <a:endParaRPr lang="en-US" sz="1600" i="1" noProof="1" smtClean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Arial" charset="0"/>
            </a:endParaRPr>
          </a:p>
          <a:p>
            <a:pPr algn="ctr">
              <a:buClr>
                <a:srgbClr val="E24848"/>
              </a:buClr>
              <a:defRPr/>
            </a:pPr>
            <a:r>
              <a:rPr lang="sr-Latn-RS" sz="1600" i="1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charset="0"/>
              </a:rPr>
              <a:t>- </a:t>
            </a:r>
            <a:r>
              <a:rPr lang="en-US" sz="1600" i="1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charset="0"/>
              </a:rPr>
              <a:t>I am fine/Ok, thanks</a:t>
            </a:r>
            <a:r>
              <a:rPr lang="sr-Latn-RS" sz="1600" i="1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charset="0"/>
              </a:rPr>
              <a:t>  (Dobro sam</a:t>
            </a:r>
            <a:r>
              <a:rPr lang="en-US" sz="1600" i="1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charset="0"/>
              </a:rPr>
              <a:t>/ Ok, hvala</a:t>
            </a:r>
            <a:r>
              <a:rPr lang="sr-Latn-RS" sz="1600" i="1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charset="0"/>
              </a:rPr>
              <a:t>.</a:t>
            </a:r>
            <a:r>
              <a:rPr lang="en-US" sz="1600" i="1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charset="0"/>
              </a:rPr>
              <a:t>)</a:t>
            </a:r>
            <a:endParaRPr lang="sr-Latn-RS" sz="1600" i="1" noProof="1" smtClean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Arial" charset="0"/>
            </a:endParaRPr>
          </a:p>
          <a:p>
            <a:pPr algn="ctr">
              <a:buClr>
                <a:srgbClr val="E24848"/>
              </a:buClr>
              <a:defRPr/>
            </a:pPr>
            <a:endParaRPr lang="en-US" sz="1600" i="1" noProof="1" smtClean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Arial" charset="0"/>
            </a:endParaRPr>
          </a:p>
          <a:p>
            <a:pPr algn="ctr">
              <a:buClr>
                <a:srgbClr val="E24848"/>
              </a:buClr>
              <a:defRPr/>
            </a:pPr>
            <a:r>
              <a:rPr lang="sr-Latn-RS" sz="1600" i="1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charset="0"/>
              </a:rPr>
              <a:t>- </a:t>
            </a:r>
            <a:r>
              <a:rPr lang="en-US" sz="1600" i="1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charset="0"/>
              </a:rPr>
              <a:t>Nice to meet you. (Drago mi je </a:t>
            </a:r>
            <a:r>
              <a:rPr lang="sr-Latn-RS" sz="1600" i="1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charset="0"/>
              </a:rPr>
              <a:t>što smo se upoznali.)</a:t>
            </a:r>
          </a:p>
          <a:p>
            <a:pPr algn="ctr">
              <a:buClr>
                <a:srgbClr val="E24848"/>
              </a:buClr>
              <a:defRPr/>
            </a:pPr>
            <a:r>
              <a:rPr lang="sr-Latn-RS" sz="1600" i="1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charset="0"/>
              </a:rPr>
              <a:t>- Me to</a:t>
            </a:r>
            <a:r>
              <a:rPr lang="en-US" sz="1600" i="1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charset="0"/>
              </a:rPr>
              <a:t>o</a:t>
            </a:r>
            <a:r>
              <a:rPr lang="sr-Latn-RS" sz="1600" i="1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Calibri Light" panose="020F0302020204030204" pitchFamily="34" charset="0"/>
                <a:cs typeface="Arial" charset="0"/>
              </a:rPr>
              <a:t>. ( I meni, takođe.)</a:t>
            </a:r>
            <a:endParaRPr lang="en-US" sz="1600" i="1" noProof="1" smtClean="0">
              <a:solidFill>
                <a:schemeClr val="tx1">
                  <a:lumMod val="65000"/>
                  <a:lumOff val="35000"/>
                </a:schemeClr>
              </a:solidFill>
              <a:latin typeface="Calibri Light" panose="020F0302020204030204" pitchFamily="34" charset="0"/>
              <a:cs typeface="Arial" charset="0"/>
            </a:endParaRPr>
          </a:p>
        </p:txBody>
      </p:sp>
      <p:sp>
        <p:nvSpPr>
          <p:cNvPr id="26" name="Content Placeholder 2"/>
          <p:cNvSpPr txBox="1">
            <a:spLocks/>
          </p:cNvSpPr>
          <p:nvPr/>
        </p:nvSpPr>
        <p:spPr>
          <a:xfrm>
            <a:off x="1462886" y="2347759"/>
            <a:ext cx="1736494" cy="368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dirty="0" smtClean="0"/>
              <a:t>Hi!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1462889" y="2755401"/>
            <a:ext cx="3019773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</a:pPr>
            <a:r>
              <a:rPr lang="sr-Latn-RS" sz="16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ore </a:t>
            </a:r>
            <a:r>
              <a:rPr lang="sr-Latn-RS" sz="1600" noProof="1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i</a:t>
            </a:r>
            <a:r>
              <a:rPr lang="en-US" sz="16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formal</a:t>
            </a:r>
            <a:endParaRPr lang="sr-Latn-RS" sz="1600" noProof="1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>
              <a:buClr>
                <a:srgbClr val="E24848"/>
              </a:buClr>
            </a:pPr>
            <a:endParaRPr lang="en-US" sz="1600" noProof="1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>
              <a:buClr>
                <a:srgbClr val="E24848"/>
              </a:buClr>
            </a:pPr>
            <a:r>
              <a:rPr lang="en-US" sz="16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Neformalan</a:t>
            </a:r>
            <a:r>
              <a:rPr lang="sr-Latn-RS" sz="16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 način po</a:t>
            </a:r>
            <a:r>
              <a:rPr lang="en-US" sz="1600" noProof="1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z</a:t>
            </a:r>
            <a:r>
              <a:rPr lang="sr-Latn-RS" sz="16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ravljanja.</a:t>
            </a:r>
            <a:endParaRPr lang="en-US" sz="1600" noProof="1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>
              <a:buClr>
                <a:srgbClr val="E24848"/>
              </a:buClr>
            </a:pPr>
            <a:endParaRPr lang="en-US" sz="1400" noProof="1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8" name="Content Placeholder 2"/>
          <p:cNvSpPr txBox="1">
            <a:spLocks/>
          </p:cNvSpPr>
          <p:nvPr/>
        </p:nvSpPr>
        <p:spPr>
          <a:xfrm>
            <a:off x="8933238" y="1518291"/>
            <a:ext cx="1736494" cy="3688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r"/>
            <a:r>
              <a:rPr lang="en-US" dirty="0" smtClean="0"/>
              <a:t>Hello!</a:t>
            </a:r>
            <a:endParaRPr lang="en-US" dirty="0"/>
          </a:p>
        </p:txBody>
      </p:sp>
      <p:sp>
        <p:nvSpPr>
          <p:cNvPr id="34" name="Rectangle 33"/>
          <p:cNvSpPr/>
          <p:nvPr/>
        </p:nvSpPr>
        <p:spPr>
          <a:xfrm>
            <a:off x="7649959" y="1967719"/>
            <a:ext cx="301977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buClr>
                <a:srgbClr val="E24848"/>
              </a:buClr>
            </a:pPr>
            <a:r>
              <a:rPr lang="sr-Latn-RS" sz="16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More </a:t>
            </a:r>
            <a:r>
              <a:rPr lang="sr-Latn-RS" sz="1600" noProof="1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</a:t>
            </a:r>
            <a:r>
              <a:rPr lang="en-US" sz="16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ormal</a:t>
            </a:r>
            <a:endParaRPr lang="sr-Latn-RS" sz="1600" noProof="1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r">
              <a:buClr>
                <a:srgbClr val="E24848"/>
              </a:buClr>
            </a:pPr>
            <a:endParaRPr lang="sr-Latn-RS" sz="1600" noProof="1" smtClean="0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pPr algn="r">
              <a:buClr>
                <a:srgbClr val="E24848"/>
              </a:buClr>
            </a:pPr>
            <a:r>
              <a:rPr lang="sr-Latn-RS" sz="16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Formalan način pozdravljanja</a:t>
            </a:r>
            <a:endParaRPr lang="en-US" sz="1600" noProof="1">
              <a:solidFill>
                <a:schemeClr val="tx1">
                  <a:lumMod val="65000"/>
                  <a:lumOff val="3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4172121" y="2339435"/>
            <a:ext cx="3283615" cy="2146819"/>
            <a:chOff x="4172121" y="2339435"/>
            <a:chExt cx="3283615" cy="2146819"/>
          </a:xfrm>
        </p:grpSpPr>
        <p:sp>
          <p:nvSpPr>
            <p:cNvPr id="30" name="Freeform 103"/>
            <p:cNvSpPr>
              <a:spLocks/>
            </p:cNvSpPr>
            <p:nvPr/>
          </p:nvSpPr>
          <p:spPr bwMode="auto">
            <a:xfrm>
              <a:off x="5087410" y="2339435"/>
              <a:ext cx="2368326" cy="1770673"/>
            </a:xfrm>
            <a:custGeom>
              <a:avLst/>
              <a:gdLst>
                <a:gd name="T0" fmla="*/ 6653 w 6800"/>
                <a:gd name="T1" fmla="*/ 0 h 5087"/>
                <a:gd name="T2" fmla="*/ 6685 w 6800"/>
                <a:gd name="T3" fmla="*/ 3 h 5087"/>
                <a:gd name="T4" fmla="*/ 6715 w 6800"/>
                <a:gd name="T5" fmla="*/ 13 h 5087"/>
                <a:gd name="T6" fmla="*/ 6742 w 6800"/>
                <a:gd name="T7" fmla="*/ 29 h 5087"/>
                <a:gd name="T8" fmla="*/ 6764 w 6800"/>
                <a:gd name="T9" fmla="*/ 49 h 5087"/>
                <a:gd name="T10" fmla="*/ 6781 w 6800"/>
                <a:gd name="T11" fmla="*/ 74 h 5087"/>
                <a:gd name="T12" fmla="*/ 6793 w 6800"/>
                <a:gd name="T13" fmla="*/ 101 h 5087"/>
                <a:gd name="T14" fmla="*/ 6800 w 6800"/>
                <a:gd name="T15" fmla="*/ 133 h 5087"/>
                <a:gd name="T16" fmla="*/ 6799 w 6800"/>
                <a:gd name="T17" fmla="*/ 166 h 5087"/>
                <a:gd name="T18" fmla="*/ 6275 w 6800"/>
                <a:gd name="T19" fmla="*/ 4938 h 5087"/>
                <a:gd name="T20" fmla="*/ 6266 w 6800"/>
                <a:gd name="T21" fmla="*/ 4970 h 5087"/>
                <a:gd name="T22" fmla="*/ 6250 w 6800"/>
                <a:gd name="T23" fmla="*/ 5000 h 5087"/>
                <a:gd name="T24" fmla="*/ 6228 w 6800"/>
                <a:gd name="T25" fmla="*/ 5027 h 5087"/>
                <a:gd name="T26" fmla="*/ 6202 w 6800"/>
                <a:gd name="T27" fmla="*/ 5050 h 5087"/>
                <a:gd name="T28" fmla="*/ 6173 w 6800"/>
                <a:gd name="T29" fmla="*/ 5068 h 5087"/>
                <a:gd name="T30" fmla="*/ 6142 w 6800"/>
                <a:gd name="T31" fmla="*/ 5080 h 5087"/>
                <a:gd name="T32" fmla="*/ 6109 w 6800"/>
                <a:gd name="T33" fmla="*/ 5087 h 5087"/>
                <a:gd name="T34" fmla="*/ 148 w 6800"/>
                <a:gd name="T35" fmla="*/ 4932 h 5087"/>
                <a:gd name="T36" fmla="*/ 116 w 6800"/>
                <a:gd name="T37" fmla="*/ 4927 h 5087"/>
                <a:gd name="T38" fmla="*/ 86 w 6800"/>
                <a:gd name="T39" fmla="*/ 4917 h 5087"/>
                <a:gd name="T40" fmla="*/ 59 w 6800"/>
                <a:gd name="T41" fmla="*/ 4902 h 5087"/>
                <a:gd name="T42" fmla="*/ 36 w 6800"/>
                <a:gd name="T43" fmla="*/ 4881 h 5087"/>
                <a:gd name="T44" fmla="*/ 19 w 6800"/>
                <a:gd name="T45" fmla="*/ 4857 h 5087"/>
                <a:gd name="T46" fmla="*/ 7 w 6800"/>
                <a:gd name="T47" fmla="*/ 4829 h 5087"/>
                <a:gd name="T48" fmla="*/ 1 w 6800"/>
                <a:gd name="T49" fmla="*/ 4797 h 5087"/>
                <a:gd name="T50" fmla="*/ 1 w 6800"/>
                <a:gd name="T51" fmla="*/ 4764 h 5087"/>
                <a:gd name="T52" fmla="*/ 557 w 6800"/>
                <a:gd name="T53" fmla="*/ 150 h 5087"/>
                <a:gd name="T54" fmla="*/ 569 w 6800"/>
                <a:gd name="T55" fmla="*/ 118 h 5087"/>
                <a:gd name="T56" fmla="*/ 585 w 6800"/>
                <a:gd name="T57" fmla="*/ 88 h 5087"/>
                <a:gd name="T58" fmla="*/ 606 w 6800"/>
                <a:gd name="T59" fmla="*/ 61 h 5087"/>
                <a:gd name="T60" fmla="*/ 631 w 6800"/>
                <a:gd name="T61" fmla="*/ 38 h 5087"/>
                <a:gd name="T62" fmla="*/ 660 w 6800"/>
                <a:gd name="T63" fmla="*/ 20 h 5087"/>
                <a:gd name="T64" fmla="*/ 691 w 6800"/>
                <a:gd name="T65" fmla="*/ 8 h 5087"/>
                <a:gd name="T66" fmla="*/ 725 w 6800"/>
                <a:gd name="T67" fmla="*/ 1 h 5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800" h="5087">
                  <a:moveTo>
                    <a:pt x="741" y="0"/>
                  </a:moveTo>
                  <a:lnTo>
                    <a:pt x="6653" y="0"/>
                  </a:lnTo>
                  <a:lnTo>
                    <a:pt x="6669" y="1"/>
                  </a:lnTo>
                  <a:lnTo>
                    <a:pt x="6685" y="3"/>
                  </a:lnTo>
                  <a:lnTo>
                    <a:pt x="6700" y="8"/>
                  </a:lnTo>
                  <a:lnTo>
                    <a:pt x="6715" y="13"/>
                  </a:lnTo>
                  <a:lnTo>
                    <a:pt x="6729" y="20"/>
                  </a:lnTo>
                  <a:lnTo>
                    <a:pt x="6742" y="29"/>
                  </a:lnTo>
                  <a:lnTo>
                    <a:pt x="6753" y="38"/>
                  </a:lnTo>
                  <a:lnTo>
                    <a:pt x="6764" y="49"/>
                  </a:lnTo>
                  <a:lnTo>
                    <a:pt x="6773" y="61"/>
                  </a:lnTo>
                  <a:lnTo>
                    <a:pt x="6781" y="74"/>
                  </a:lnTo>
                  <a:lnTo>
                    <a:pt x="6788" y="88"/>
                  </a:lnTo>
                  <a:lnTo>
                    <a:pt x="6793" y="101"/>
                  </a:lnTo>
                  <a:lnTo>
                    <a:pt x="6797" y="118"/>
                  </a:lnTo>
                  <a:lnTo>
                    <a:pt x="6800" y="133"/>
                  </a:lnTo>
                  <a:lnTo>
                    <a:pt x="6800" y="150"/>
                  </a:lnTo>
                  <a:lnTo>
                    <a:pt x="6799" y="166"/>
                  </a:lnTo>
                  <a:lnTo>
                    <a:pt x="6279" y="4920"/>
                  </a:lnTo>
                  <a:lnTo>
                    <a:pt x="6275" y="4938"/>
                  </a:lnTo>
                  <a:lnTo>
                    <a:pt x="6272" y="4954"/>
                  </a:lnTo>
                  <a:lnTo>
                    <a:pt x="6266" y="4970"/>
                  </a:lnTo>
                  <a:lnTo>
                    <a:pt x="6258" y="4985"/>
                  </a:lnTo>
                  <a:lnTo>
                    <a:pt x="6250" y="5000"/>
                  </a:lnTo>
                  <a:lnTo>
                    <a:pt x="6239" y="5014"/>
                  </a:lnTo>
                  <a:lnTo>
                    <a:pt x="6228" y="5027"/>
                  </a:lnTo>
                  <a:lnTo>
                    <a:pt x="6216" y="5038"/>
                  </a:lnTo>
                  <a:lnTo>
                    <a:pt x="6202" y="5050"/>
                  </a:lnTo>
                  <a:lnTo>
                    <a:pt x="6188" y="5059"/>
                  </a:lnTo>
                  <a:lnTo>
                    <a:pt x="6173" y="5068"/>
                  </a:lnTo>
                  <a:lnTo>
                    <a:pt x="6158" y="5075"/>
                  </a:lnTo>
                  <a:lnTo>
                    <a:pt x="6142" y="5080"/>
                  </a:lnTo>
                  <a:lnTo>
                    <a:pt x="6126" y="5085"/>
                  </a:lnTo>
                  <a:lnTo>
                    <a:pt x="6109" y="5087"/>
                  </a:lnTo>
                  <a:lnTo>
                    <a:pt x="6091" y="5087"/>
                  </a:lnTo>
                  <a:lnTo>
                    <a:pt x="148" y="4932"/>
                  </a:lnTo>
                  <a:lnTo>
                    <a:pt x="132" y="4929"/>
                  </a:lnTo>
                  <a:lnTo>
                    <a:pt x="116" y="4927"/>
                  </a:lnTo>
                  <a:lnTo>
                    <a:pt x="100" y="4923"/>
                  </a:lnTo>
                  <a:lnTo>
                    <a:pt x="86" y="4917"/>
                  </a:lnTo>
                  <a:lnTo>
                    <a:pt x="72" y="4910"/>
                  </a:lnTo>
                  <a:lnTo>
                    <a:pt x="59" y="4902"/>
                  </a:lnTo>
                  <a:lnTo>
                    <a:pt x="48" y="4892"/>
                  </a:lnTo>
                  <a:lnTo>
                    <a:pt x="36" y="4881"/>
                  </a:lnTo>
                  <a:lnTo>
                    <a:pt x="27" y="4869"/>
                  </a:lnTo>
                  <a:lnTo>
                    <a:pt x="19" y="4857"/>
                  </a:lnTo>
                  <a:lnTo>
                    <a:pt x="13" y="4844"/>
                  </a:lnTo>
                  <a:lnTo>
                    <a:pt x="7" y="4829"/>
                  </a:lnTo>
                  <a:lnTo>
                    <a:pt x="4" y="4814"/>
                  </a:lnTo>
                  <a:lnTo>
                    <a:pt x="1" y="4797"/>
                  </a:lnTo>
                  <a:lnTo>
                    <a:pt x="0" y="4781"/>
                  </a:lnTo>
                  <a:lnTo>
                    <a:pt x="1" y="4764"/>
                  </a:lnTo>
                  <a:lnTo>
                    <a:pt x="555" y="166"/>
                  </a:lnTo>
                  <a:lnTo>
                    <a:pt x="557" y="150"/>
                  </a:lnTo>
                  <a:lnTo>
                    <a:pt x="562" y="134"/>
                  </a:lnTo>
                  <a:lnTo>
                    <a:pt x="569" y="118"/>
                  </a:lnTo>
                  <a:lnTo>
                    <a:pt x="576" y="101"/>
                  </a:lnTo>
                  <a:lnTo>
                    <a:pt x="585" y="88"/>
                  </a:lnTo>
                  <a:lnTo>
                    <a:pt x="594" y="74"/>
                  </a:lnTo>
                  <a:lnTo>
                    <a:pt x="606" y="61"/>
                  </a:lnTo>
                  <a:lnTo>
                    <a:pt x="618" y="49"/>
                  </a:lnTo>
                  <a:lnTo>
                    <a:pt x="631" y="38"/>
                  </a:lnTo>
                  <a:lnTo>
                    <a:pt x="645" y="29"/>
                  </a:lnTo>
                  <a:lnTo>
                    <a:pt x="660" y="20"/>
                  </a:lnTo>
                  <a:lnTo>
                    <a:pt x="675" y="13"/>
                  </a:lnTo>
                  <a:lnTo>
                    <a:pt x="691" y="8"/>
                  </a:lnTo>
                  <a:lnTo>
                    <a:pt x="708" y="3"/>
                  </a:lnTo>
                  <a:lnTo>
                    <a:pt x="725" y="1"/>
                  </a:lnTo>
                  <a:lnTo>
                    <a:pt x="741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4"/>
            <p:cNvSpPr>
              <a:spLocks/>
            </p:cNvSpPr>
            <p:nvPr/>
          </p:nvSpPr>
          <p:spPr bwMode="auto">
            <a:xfrm>
              <a:off x="4172121" y="3944325"/>
              <a:ext cx="3102508" cy="541929"/>
            </a:xfrm>
            <a:custGeom>
              <a:avLst/>
              <a:gdLst>
                <a:gd name="T0" fmla="*/ 4 w 8907"/>
                <a:gd name="T1" fmla="*/ 637 h 1554"/>
                <a:gd name="T2" fmla="*/ 733 w 8907"/>
                <a:gd name="T3" fmla="*/ 630 h 1554"/>
                <a:gd name="T4" fmla="*/ 2632 w 8907"/>
                <a:gd name="T5" fmla="*/ 29 h 1554"/>
                <a:gd name="T6" fmla="*/ 2654 w 8907"/>
                <a:gd name="T7" fmla="*/ 22 h 1554"/>
                <a:gd name="T8" fmla="*/ 2676 w 8907"/>
                <a:gd name="T9" fmla="*/ 16 h 1554"/>
                <a:gd name="T10" fmla="*/ 2698 w 8907"/>
                <a:gd name="T11" fmla="*/ 12 h 1554"/>
                <a:gd name="T12" fmla="*/ 2720 w 8907"/>
                <a:gd name="T13" fmla="*/ 7 h 1554"/>
                <a:gd name="T14" fmla="*/ 2739 w 8907"/>
                <a:gd name="T15" fmla="*/ 3 h 1554"/>
                <a:gd name="T16" fmla="*/ 2757 w 8907"/>
                <a:gd name="T17" fmla="*/ 1 h 1554"/>
                <a:gd name="T18" fmla="*/ 2771 w 8907"/>
                <a:gd name="T19" fmla="*/ 0 h 1554"/>
                <a:gd name="T20" fmla="*/ 2782 w 8907"/>
                <a:gd name="T21" fmla="*/ 0 h 1554"/>
                <a:gd name="T22" fmla="*/ 7970 w 8907"/>
                <a:gd name="T23" fmla="*/ 456 h 1554"/>
                <a:gd name="T24" fmla="*/ 8906 w 8907"/>
                <a:gd name="T25" fmla="*/ 318 h 1554"/>
                <a:gd name="T26" fmla="*/ 8906 w 8907"/>
                <a:gd name="T27" fmla="*/ 341 h 1554"/>
                <a:gd name="T28" fmla="*/ 8906 w 8907"/>
                <a:gd name="T29" fmla="*/ 365 h 1554"/>
                <a:gd name="T30" fmla="*/ 8904 w 8907"/>
                <a:gd name="T31" fmla="*/ 389 h 1554"/>
                <a:gd name="T32" fmla="*/ 8904 w 8907"/>
                <a:gd name="T33" fmla="*/ 413 h 1554"/>
                <a:gd name="T34" fmla="*/ 8904 w 8907"/>
                <a:gd name="T35" fmla="*/ 438 h 1554"/>
                <a:gd name="T36" fmla="*/ 8904 w 8907"/>
                <a:gd name="T37" fmla="*/ 461 h 1554"/>
                <a:gd name="T38" fmla="*/ 8904 w 8907"/>
                <a:gd name="T39" fmla="*/ 484 h 1554"/>
                <a:gd name="T40" fmla="*/ 8906 w 8907"/>
                <a:gd name="T41" fmla="*/ 507 h 1554"/>
                <a:gd name="T42" fmla="*/ 8907 w 8907"/>
                <a:gd name="T43" fmla="*/ 521 h 1554"/>
                <a:gd name="T44" fmla="*/ 8906 w 8907"/>
                <a:gd name="T45" fmla="*/ 534 h 1554"/>
                <a:gd name="T46" fmla="*/ 8904 w 8907"/>
                <a:gd name="T47" fmla="*/ 539 h 1554"/>
                <a:gd name="T48" fmla="*/ 8902 w 8907"/>
                <a:gd name="T49" fmla="*/ 544 h 1554"/>
                <a:gd name="T50" fmla="*/ 8900 w 8907"/>
                <a:gd name="T51" fmla="*/ 550 h 1554"/>
                <a:gd name="T52" fmla="*/ 8896 w 8907"/>
                <a:gd name="T53" fmla="*/ 555 h 1554"/>
                <a:gd name="T54" fmla="*/ 8893 w 8907"/>
                <a:gd name="T55" fmla="*/ 559 h 1554"/>
                <a:gd name="T56" fmla="*/ 8888 w 8907"/>
                <a:gd name="T57" fmla="*/ 564 h 1554"/>
                <a:gd name="T58" fmla="*/ 8884 w 8907"/>
                <a:gd name="T59" fmla="*/ 567 h 1554"/>
                <a:gd name="T60" fmla="*/ 8877 w 8907"/>
                <a:gd name="T61" fmla="*/ 572 h 1554"/>
                <a:gd name="T62" fmla="*/ 8863 w 8907"/>
                <a:gd name="T63" fmla="*/ 579 h 1554"/>
                <a:gd name="T64" fmla="*/ 8844 w 8907"/>
                <a:gd name="T65" fmla="*/ 587 h 1554"/>
                <a:gd name="T66" fmla="*/ 8600 w 8907"/>
                <a:gd name="T67" fmla="*/ 674 h 1554"/>
                <a:gd name="T68" fmla="*/ 6414 w 8907"/>
                <a:gd name="T69" fmla="*/ 1525 h 1554"/>
                <a:gd name="T70" fmla="*/ 6392 w 8907"/>
                <a:gd name="T71" fmla="*/ 1532 h 1554"/>
                <a:gd name="T72" fmla="*/ 6370 w 8907"/>
                <a:gd name="T73" fmla="*/ 1539 h 1554"/>
                <a:gd name="T74" fmla="*/ 6348 w 8907"/>
                <a:gd name="T75" fmla="*/ 1544 h 1554"/>
                <a:gd name="T76" fmla="*/ 6326 w 8907"/>
                <a:gd name="T77" fmla="*/ 1548 h 1554"/>
                <a:gd name="T78" fmla="*/ 6306 w 8907"/>
                <a:gd name="T79" fmla="*/ 1551 h 1554"/>
                <a:gd name="T80" fmla="*/ 6289 w 8907"/>
                <a:gd name="T81" fmla="*/ 1554 h 1554"/>
                <a:gd name="T82" fmla="*/ 6274 w 8907"/>
                <a:gd name="T83" fmla="*/ 1554 h 1554"/>
                <a:gd name="T84" fmla="*/ 6264 w 8907"/>
                <a:gd name="T85" fmla="*/ 1554 h 1554"/>
                <a:gd name="T86" fmla="*/ 213 w 8907"/>
                <a:gd name="T87" fmla="*/ 901 h 1554"/>
                <a:gd name="T88" fmla="*/ 31 w 8907"/>
                <a:gd name="T89" fmla="*/ 884 h 1554"/>
                <a:gd name="T90" fmla="*/ 24 w 8907"/>
                <a:gd name="T91" fmla="*/ 883 h 1554"/>
                <a:gd name="T92" fmla="*/ 19 w 8907"/>
                <a:gd name="T93" fmla="*/ 881 h 1554"/>
                <a:gd name="T94" fmla="*/ 14 w 8907"/>
                <a:gd name="T95" fmla="*/ 876 h 1554"/>
                <a:gd name="T96" fmla="*/ 9 w 8907"/>
                <a:gd name="T97" fmla="*/ 872 h 1554"/>
                <a:gd name="T98" fmla="*/ 6 w 8907"/>
                <a:gd name="T99" fmla="*/ 865 h 1554"/>
                <a:gd name="T100" fmla="*/ 2 w 8907"/>
                <a:gd name="T101" fmla="*/ 857 h 1554"/>
                <a:gd name="T102" fmla="*/ 1 w 8907"/>
                <a:gd name="T103" fmla="*/ 847 h 1554"/>
                <a:gd name="T104" fmla="*/ 0 w 8907"/>
                <a:gd name="T105" fmla="*/ 836 h 1554"/>
                <a:gd name="T106" fmla="*/ 0 w 8907"/>
                <a:gd name="T107" fmla="*/ 810 h 1554"/>
                <a:gd name="T108" fmla="*/ 1 w 8907"/>
                <a:gd name="T109" fmla="*/ 781 h 1554"/>
                <a:gd name="T110" fmla="*/ 1 w 8907"/>
                <a:gd name="T111" fmla="*/ 751 h 1554"/>
                <a:gd name="T112" fmla="*/ 2 w 8907"/>
                <a:gd name="T113" fmla="*/ 720 h 1554"/>
                <a:gd name="T114" fmla="*/ 2 w 8907"/>
                <a:gd name="T115" fmla="*/ 692 h 1554"/>
                <a:gd name="T116" fmla="*/ 4 w 8907"/>
                <a:gd name="T117" fmla="*/ 667 h 1554"/>
                <a:gd name="T118" fmla="*/ 4 w 8907"/>
                <a:gd name="T119" fmla="*/ 648 h 1554"/>
                <a:gd name="T120" fmla="*/ 4 w 8907"/>
                <a:gd name="T121" fmla="*/ 637 h 1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907" h="1554">
                  <a:moveTo>
                    <a:pt x="4" y="637"/>
                  </a:moveTo>
                  <a:lnTo>
                    <a:pt x="733" y="630"/>
                  </a:lnTo>
                  <a:lnTo>
                    <a:pt x="2632" y="29"/>
                  </a:lnTo>
                  <a:lnTo>
                    <a:pt x="2654" y="22"/>
                  </a:lnTo>
                  <a:lnTo>
                    <a:pt x="2676" y="16"/>
                  </a:lnTo>
                  <a:lnTo>
                    <a:pt x="2698" y="12"/>
                  </a:lnTo>
                  <a:lnTo>
                    <a:pt x="2720" y="7"/>
                  </a:lnTo>
                  <a:lnTo>
                    <a:pt x="2739" y="3"/>
                  </a:lnTo>
                  <a:lnTo>
                    <a:pt x="2757" y="1"/>
                  </a:lnTo>
                  <a:lnTo>
                    <a:pt x="2771" y="0"/>
                  </a:lnTo>
                  <a:lnTo>
                    <a:pt x="2782" y="0"/>
                  </a:lnTo>
                  <a:lnTo>
                    <a:pt x="7970" y="456"/>
                  </a:lnTo>
                  <a:lnTo>
                    <a:pt x="8906" y="318"/>
                  </a:lnTo>
                  <a:lnTo>
                    <a:pt x="8906" y="341"/>
                  </a:lnTo>
                  <a:lnTo>
                    <a:pt x="8906" y="365"/>
                  </a:lnTo>
                  <a:lnTo>
                    <a:pt x="8904" y="389"/>
                  </a:lnTo>
                  <a:lnTo>
                    <a:pt x="8904" y="413"/>
                  </a:lnTo>
                  <a:lnTo>
                    <a:pt x="8904" y="438"/>
                  </a:lnTo>
                  <a:lnTo>
                    <a:pt x="8904" y="461"/>
                  </a:lnTo>
                  <a:lnTo>
                    <a:pt x="8904" y="484"/>
                  </a:lnTo>
                  <a:lnTo>
                    <a:pt x="8906" y="507"/>
                  </a:lnTo>
                  <a:lnTo>
                    <a:pt x="8907" y="521"/>
                  </a:lnTo>
                  <a:lnTo>
                    <a:pt x="8906" y="534"/>
                  </a:lnTo>
                  <a:lnTo>
                    <a:pt x="8904" y="539"/>
                  </a:lnTo>
                  <a:lnTo>
                    <a:pt x="8902" y="544"/>
                  </a:lnTo>
                  <a:lnTo>
                    <a:pt x="8900" y="550"/>
                  </a:lnTo>
                  <a:lnTo>
                    <a:pt x="8896" y="555"/>
                  </a:lnTo>
                  <a:lnTo>
                    <a:pt x="8893" y="559"/>
                  </a:lnTo>
                  <a:lnTo>
                    <a:pt x="8888" y="564"/>
                  </a:lnTo>
                  <a:lnTo>
                    <a:pt x="8884" y="567"/>
                  </a:lnTo>
                  <a:lnTo>
                    <a:pt x="8877" y="572"/>
                  </a:lnTo>
                  <a:lnTo>
                    <a:pt x="8863" y="579"/>
                  </a:lnTo>
                  <a:lnTo>
                    <a:pt x="8844" y="587"/>
                  </a:lnTo>
                  <a:lnTo>
                    <a:pt x="8600" y="674"/>
                  </a:lnTo>
                  <a:lnTo>
                    <a:pt x="6414" y="1525"/>
                  </a:lnTo>
                  <a:lnTo>
                    <a:pt x="6392" y="1532"/>
                  </a:lnTo>
                  <a:lnTo>
                    <a:pt x="6370" y="1539"/>
                  </a:lnTo>
                  <a:lnTo>
                    <a:pt x="6348" y="1544"/>
                  </a:lnTo>
                  <a:lnTo>
                    <a:pt x="6326" y="1548"/>
                  </a:lnTo>
                  <a:lnTo>
                    <a:pt x="6306" y="1551"/>
                  </a:lnTo>
                  <a:lnTo>
                    <a:pt x="6289" y="1554"/>
                  </a:lnTo>
                  <a:lnTo>
                    <a:pt x="6274" y="1554"/>
                  </a:lnTo>
                  <a:lnTo>
                    <a:pt x="6264" y="1554"/>
                  </a:lnTo>
                  <a:lnTo>
                    <a:pt x="213" y="901"/>
                  </a:lnTo>
                  <a:lnTo>
                    <a:pt x="31" y="884"/>
                  </a:lnTo>
                  <a:lnTo>
                    <a:pt x="24" y="883"/>
                  </a:lnTo>
                  <a:lnTo>
                    <a:pt x="19" y="881"/>
                  </a:lnTo>
                  <a:lnTo>
                    <a:pt x="14" y="876"/>
                  </a:lnTo>
                  <a:lnTo>
                    <a:pt x="9" y="872"/>
                  </a:lnTo>
                  <a:lnTo>
                    <a:pt x="6" y="865"/>
                  </a:lnTo>
                  <a:lnTo>
                    <a:pt x="2" y="857"/>
                  </a:lnTo>
                  <a:lnTo>
                    <a:pt x="1" y="847"/>
                  </a:lnTo>
                  <a:lnTo>
                    <a:pt x="0" y="836"/>
                  </a:lnTo>
                  <a:lnTo>
                    <a:pt x="0" y="810"/>
                  </a:lnTo>
                  <a:lnTo>
                    <a:pt x="1" y="781"/>
                  </a:lnTo>
                  <a:lnTo>
                    <a:pt x="1" y="751"/>
                  </a:lnTo>
                  <a:lnTo>
                    <a:pt x="2" y="720"/>
                  </a:lnTo>
                  <a:lnTo>
                    <a:pt x="2" y="692"/>
                  </a:lnTo>
                  <a:lnTo>
                    <a:pt x="4" y="667"/>
                  </a:lnTo>
                  <a:lnTo>
                    <a:pt x="4" y="648"/>
                  </a:lnTo>
                  <a:lnTo>
                    <a:pt x="4" y="637"/>
                  </a:lnTo>
                  <a:close/>
                </a:path>
              </a:pathLst>
            </a:custGeom>
            <a:solidFill>
              <a:srgbClr val="BDBFC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05"/>
            <p:cNvSpPr>
              <a:spLocks/>
            </p:cNvSpPr>
            <p:nvPr/>
          </p:nvSpPr>
          <p:spPr bwMode="auto">
            <a:xfrm>
              <a:off x="4172121" y="3863523"/>
              <a:ext cx="3105294" cy="540536"/>
            </a:xfrm>
            <a:custGeom>
              <a:avLst/>
              <a:gdLst>
                <a:gd name="T0" fmla="*/ 2783 w 8917"/>
                <a:gd name="T1" fmla="*/ 0 h 1554"/>
                <a:gd name="T2" fmla="*/ 8909 w 8917"/>
                <a:gd name="T3" fmla="*/ 540 h 1554"/>
                <a:gd name="T4" fmla="*/ 8912 w 8917"/>
                <a:gd name="T5" fmla="*/ 540 h 1554"/>
                <a:gd name="T6" fmla="*/ 8916 w 8917"/>
                <a:gd name="T7" fmla="*/ 541 h 1554"/>
                <a:gd name="T8" fmla="*/ 8917 w 8917"/>
                <a:gd name="T9" fmla="*/ 542 h 1554"/>
                <a:gd name="T10" fmla="*/ 8917 w 8917"/>
                <a:gd name="T11" fmla="*/ 543 h 1554"/>
                <a:gd name="T12" fmla="*/ 8916 w 8917"/>
                <a:gd name="T13" fmla="*/ 547 h 1554"/>
                <a:gd name="T14" fmla="*/ 8909 w 8917"/>
                <a:gd name="T15" fmla="*/ 551 h 1554"/>
                <a:gd name="T16" fmla="*/ 8885 w 8917"/>
                <a:gd name="T17" fmla="*/ 563 h 1554"/>
                <a:gd name="T18" fmla="*/ 8848 w 8917"/>
                <a:gd name="T19" fmla="*/ 578 h 1554"/>
                <a:gd name="T20" fmla="*/ 6415 w 8917"/>
                <a:gd name="T21" fmla="*/ 1525 h 1554"/>
                <a:gd name="T22" fmla="*/ 6393 w 8917"/>
                <a:gd name="T23" fmla="*/ 1533 h 1554"/>
                <a:gd name="T24" fmla="*/ 6371 w 8917"/>
                <a:gd name="T25" fmla="*/ 1539 h 1554"/>
                <a:gd name="T26" fmla="*/ 6349 w 8917"/>
                <a:gd name="T27" fmla="*/ 1545 h 1554"/>
                <a:gd name="T28" fmla="*/ 6327 w 8917"/>
                <a:gd name="T29" fmla="*/ 1549 h 1554"/>
                <a:gd name="T30" fmla="*/ 6307 w 8917"/>
                <a:gd name="T31" fmla="*/ 1551 h 1554"/>
                <a:gd name="T32" fmla="*/ 6290 w 8917"/>
                <a:gd name="T33" fmla="*/ 1554 h 1554"/>
                <a:gd name="T34" fmla="*/ 6275 w 8917"/>
                <a:gd name="T35" fmla="*/ 1554 h 1554"/>
                <a:gd name="T36" fmla="*/ 6265 w 8917"/>
                <a:gd name="T37" fmla="*/ 1554 h 1554"/>
                <a:gd name="T38" fmla="*/ 3253 w 8917"/>
                <a:gd name="T39" fmla="*/ 1228 h 1554"/>
                <a:gd name="T40" fmla="*/ 2595 w 8917"/>
                <a:gd name="T41" fmla="*/ 1158 h 1554"/>
                <a:gd name="T42" fmla="*/ 2494 w 8917"/>
                <a:gd name="T43" fmla="*/ 1147 h 1554"/>
                <a:gd name="T44" fmla="*/ 9 w 8917"/>
                <a:gd name="T45" fmla="*/ 879 h 1554"/>
                <a:gd name="T46" fmla="*/ 5 w 8917"/>
                <a:gd name="T47" fmla="*/ 878 h 1554"/>
                <a:gd name="T48" fmla="*/ 2 w 8917"/>
                <a:gd name="T49" fmla="*/ 877 h 1554"/>
                <a:gd name="T50" fmla="*/ 0 w 8917"/>
                <a:gd name="T51" fmla="*/ 875 h 1554"/>
                <a:gd name="T52" fmla="*/ 0 w 8917"/>
                <a:gd name="T53" fmla="*/ 874 h 1554"/>
                <a:gd name="T54" fmla="*/ 0 w 8917"/>
                <a:gd name="T55" fmla="*/ 872 h 1554"/>
                <a:gd name="T56" fmla="*/ 2 w 8917"/>
                <a:gd name="T57" fmla="*/ 870 h 1554"/>
                <a:gd name="T58" fmla="*/ 5 w 8917"/>
                <a:gd name="T59" fmla="*/ 867 h 1554"/>
                <a:gd name="T60" fmla="*/ 8 w 8917"/>
                <a:gd name="T61" fmla="*/ 865 h 1554"/>
                <a:gd name="T62" fmla="*/ 19 w 8917"/>
                <a:gd name="T63" fmla="*/ 859 h 1554"/>
                <a:gd name="T64" fmla="*/ 32 w 8917"/>
                <a:gd name="T65" fmla="*/ 853 h 1554"/>
                <a:gd name="T66" fmla="*/ 50 w 8917"/>
                <a:gd name="T67" fmla="*/ 846 h 1554"/>
                <a:gd name="T68" fmla="*/ 69 w 8917"/>
                <a:gd name="T69" fmla="*/ 839 h 1554"/>
                <a:gd name="T70" fmla="*/ 2633 w 8917"/>
                <a:gd name="T71" fmla="*/ 29 h 1554"/>
                <a:gd name="T72" fmla="*/ 2655 w 8917"/>
                <a:gd name="T73" fmla="*/ 22 h 1554"/>
                <a:gd name="T74" fmla="*/ 2677 w 8917"/>
                <a:gd name="T75" fmla="*/ 16 h 1554"/>
                <a:gd name="T76" fmla="*/ 2699 w 8917"/>
                <a:gd name="T77" fmla="*/ 12 h 1554"/>
                <a:gd name="T78" fmla="*/ 2721 w 8917"/>
                <a:gd name="T79" fmla="*/ 7 h 1554"/>
                <a:gd name="T80" fmla="*/ 2740 w 8917"/>
                <a:gd name="T81" fmla="*/ 4 h 1554"/>
                <a:gd name="T82" fmla="*/ 2758 w 8917"/>
                <a:gd name="T83" fmla="*/ 1 h 1554"/>
                <a:gd name="T84" fmla="*/ 2772 w 8917"/>
                <a:gd name="T85" fmla="*/ 0 h 1554"/>
                <a:gd name="T86" fmla="*/ 2783 w 8917"/>
                <a:gd name="T87" fmla="*/ 0 h 15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917" h="1554">
                  <a:moveTo>
                    <a:pt x="2783" y="0"/>
                  </a:moveTo>
                  <a:lnTo>
                    <a:pt x="8909" y="540"/>
                  </a:lnTo>
                  <a:lnTo>
                    <a:pt x="8912" y="540"/>
                  </a:lnTo>
                  <a:lnTo>
                    <a:pt x="8916" y="541"/>
                  </a:lnTo>
                  <a:lnTo>
                    <a:pt x="8917" y="542"/>
                  </a:lnTo>
                  <a:lnTo>
                    <a:pt x="8917" y="543"/>
                  </a:lnTo>
                  <a:lnTo>
                    <a:pt x="8916" y="547"/>
                  </a:lnTo>
                  <a:lnTo>
                    <a:pt x="8909" y="551"/>
                  </a:lnTo>
                  <a:lnTo>
                    <a:pt x="8885" y="563"/>
                  </a:lnTo>
                  <a:lnTo>
                    <a:pt x="8848" y="578"/>
                  </a:lnTo>
                  <a:lnTo>
                    <a:pt x="6415" y="1525"/>
                  </a:lnTo>
                  <a:lnTo>
                    <a:pt x="6393" y="1533"/>
                  </a:lnTo>
                  <a:lnTo>
                    <a:pt x="6371" y="1539"/>
                  </a:lnTo>
                  <a:lnTo>
                    <a:pt x="6349" y="1545"/>
                  </a:lnTo>
                  <a:lnTo>
                    <a:pt x="6327" y="1549"/>
                  </a:lnTo>
                  <a:lnTo>
                    <a:pt x="6307" y="1551"/>
                  </a:lnTo>
                  <a:lnTo>
                    <a:pt x="6290" y="1554"/>
                  </a:lnTo>
                  <a:lnTo>
                    <a:pt x="6275" y="1554"/>
                  </a:lnTo>
                  <a:lnTo>
                    <a:pt x="6265" y="1554"/>
                  </a:lnTo>
                  <a:lnTo>
                    <a:pt x="3253" y="1228"/>
                  </a:lnTo>
                  <a:lnTo>
                    <a:pt x="2595" y="1158"/>
                  </a:lnTo>
                  <a:lnTo>
                    <a:pt x="2494" y="1147"/>
                  </a:lnTo>
                  <a:lnTo>
                    <a:pt x="9" y="879"/>
                  </a:lnTo>
                  <a:lnTo>
                    <a:pt x="5" y="878"/>
                  </a:lnTo>
                  <a:lnTo>
                    <a:pt x="2" y="877"/>
                  </a:lnTo>
                  <a:lnTo>
                    <a:pt x="0" y="875"/>
                  </a:lnTo>
                  <a:lnTo>
                    <a:pt x="0" y="874"/>
                  </a:lnTo>
                  <a:lnTo>
                    <a:pt x="0" y="872"/>
                  </a:lnTo>
                  <a:lnTo>
                    <a:pt x="2" y="870"/>
                  </a:lnTo>
                  <a:lnTo>
                    <a:pt x="5" y="867"/>
                  </a:lnTo>
                  <a:lnTo>
                    <a:pt x="8" y="865"/>
                  </a:lnTo>
                  <a:lnTo>
                    <a:pt x="19" y="859"/>
                  </a:lnTo>
                  <a:lnTo>
                    <a:pt x="32" y="853"/>
                  </a:lnTo>
                  <a:lnTo>
                    <a:pt x="50" y="846"/>
                  </a:lnTo>
                  <a:lnTo>
                    <a:pt x="69" y="839"/>
                  </a:lnTo>
                  <a:lnTo>
                    <a:pt x="2633" y="29"/>
                  </a:lnTo>
                  <a:lnTo>
                    <a:pt x="2655" y="22"/>
                  </a:lnTo>
                  <a:lnTo>
                    <a:pt x="2677" y="16"/>
                  </a:lnTo>
                  <a:lnTo>
                    <a:pt x="2699" y="12"/>
                  </a:lnTo>
                  <a:lnTo>
                    <a:pt x="2721" y="7"/>
                  </a:lnTo>
                  <a:lnTo>
                    <a:pt x="2740" y="4"/>
                  </a:lnTo>
                  <a:lnTo>
                    <a:pt x="2758" y="1"/>
                  </a:lnTo>
                  <a:lnTo>
                    <a:pt x="2772" y="0"/>
                  </a:lnTo>
                  <a:lnTo>
                    <a:pt x="2783" y="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06"/>
            <p:cNvSpPr>
              <a:spLocks/>
            </p:cNvSpPr>
            <p:nvPr/>
          </p:nvSpPr>
          <p:spPr bwMode="auto">
            <a:xfrm>
              <a:off x="5311704" y="3883027"/>
              <a:ext cx="1657828" cy="164390"/>
            </a:xfrm>
            <a:custGeom>
              <a:avLst/>
              <a:gdLst>
                <a:gd name="T0" fmla="*/ 146 w 4763"/>
                <a:gd name="T1" fmla="*/ 0 h 472"/>
                <a:gd name="T2" fmla="*/ 4763 w 4763"/>
                <a:gd name="T3" fmla="*/ 406 h 472"/>
                <a:gd name="T4" fmla="*/ 4574 w 4763"/>
                <a:gd name="T5" fmla="*/ 472 h 472"/>
                <a:gd name="T6" fmla="*/ 0 w 4763"/>
                <a:gd name="T7" fmla="*/ 56 h 472"/>
                <a:gd name="T8" fmla="*/ 146 w 4763"/>
                <a:gd name="T9" fmla="*/ 0 h 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63" h="472">
                  <a:moveTo>
                    <a:pt x="146" y="0"/>
                  </a:moveTo>
                  <a:lnTo>
                    <a:pt x="4763" y="406"/>
                  </a:lnTo>
                  <a:lnTo>
                    <a:pt x="4574" y="472"/>
                  </a:lnTo>
                  <a:lnTo>
                    <a:pt x="0" y="56"/>
                  </a:lnTo>
                  <a:lnTo>
                    <a:pt x="146" y="0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107"/>
            <p:cNvSpPr>
              <a:spLocks/>
            </p:cNvSpPr>
            <p:nvPr/>
          </p:nvSpPr>
          <p:spPr bwMode="auto">
            <a:xfrm>
              <a:off x="4964814" y="4128218"/>
              <a:ext cx="851205" cy="147672"/>
            </a:xfrm>
            <a:custGeom>
              <a:avLst/>
              <a:gdLst>
                <a:gd name="T0" fmla="*/ 830 w 2443"/>
                <a:gd name="T1" fmla="*/ 0 h 426"/>
                <a:gd name="T2" fmla="*/ 2434 w 2443"/>
                <a:gd name="T3" fmla="*/ 142 h 426"/>
                <a:gd name="T4" fmla="*/ 2438 w 2443"/>
                <a:gd name="T5" fmla="*/ 142 h 426"/>
                <a:gd name="T6" fmla="*/ 2441 w 2443"/>
                <a:gd name="T7" fmla="*/ 143 h 426"/>
                <a:gd name="T8" fmla="*/ 2443 w 2443"/>
                <a:gd name="T9" fmla="*/ 144 h 426"/>
                <a:gd name="T10" fmla="*/ 2443 w 2443"/>
                <a:gd name="T11" fmla="*/ 147 h 426"/>
                <a:gd name="T12" fmla="*/ 2443 w 2443"/>
                <a:gd name="T13" fmla="*/ 148 h 426"/>
                <a:gd name="T14" fmla="*/ 2441 w 2443"/>
                <a:gd name="T15" fmla="*/ 150 h 426"/>
                <a:gd name="T16" fmla="*/ 2438 w 2443"/>
                <a:gd name="T17" fmla="*/ 152 h 426"/>
                <a:gd name="T18" fmla="*/ 2435 w 2443"/>
                <a:gd name="T19" fmla="*/ 156 h 426"/>
                <a:gd name="T20" fmla="*/ 2424 w 2443"/>
                <a:gd name="T21" fmla="*/ 162 h 426"/>
                <a:gd name="T22" fmla="*/ 2411 w 2443"/>
                <a:gd name="T23" fmla="*/ 169 h 426"/>
                <a:gd name="T24" fmla="*/ 2393 w 2443"/>
                <a:gd name="T25" fmla="*/ 176 h 426"/>
                <a:gd name="T26" fmla="*/ 2372 w 2443"/>
                <a:gd name="T27" fmla="*/ 184 h 426"/>
                <a:gd name="T28" fmla="*/ 1767 w 2443"/>
                <a:gd name="T29" fmla="*/ 393 h 426"/>
                <a:gd name="T30" fmla="*/ 1745 w 2443"/>
                <a:gd name="T31" fmla="*/ 400 h 426"/>
                <a:gd name="T32" fmla="*/ 1722 w 2443"/>
                <a:gd name="T33" fmla="*/ 407 h 426"/>
                <a:gd name="T34" fmla="*/ 1700 w 2443"/>
                <a:gd name="T35" fmla="*/ 413 h 426"/>
                <a:gd name="T36" fmla="*/ 1678 w 2443"/>
                <a:gd name="T37" fmla="*/ 418 h 426"/>
                <a:gd name="T38" fmla="*/ 1658 w 2443"/>
                <a:gd name="T39" fmla="*/ 422 h 426"/>
                <a:gd name="T40" fmla="*/ 1640 w 2443"/>
                <a:gd name="T41" fmla="*/ 424 h 426"/>
                <a:gd name="T42" fmla="*/ 1624 w 2443"/>
                <a:gd name="T43" fmla="*/ 426 h 426"/>
                <a:gd name="T44" fmla="*/ 1614 w 2443"/>
                <a:gd name="T45" fmla="*/ 426 h 426"/>
                <a:gd name="T46" fmla="*/ 9 w 2443"/>
                <a:gd name="T47" fmla="*/ 283 h 426"/>
                <a:gd name="T48" fmla="*/ 6 w 2443"/>
                <a:gd name="T49" fmla="*/ 283 h 426"/>
                <a:gd name="T50" fmla="*/ 2 w 2443"/>
                <a:gd name="T51" fmla="*/ 282 h 426"/>
                <a:gd name="T52" fmla="*/ 1 w 2443"/>
                <a:gd name="T53" fmla="*/ 281 h 426"/>
                <a:gd name="T54" fmla="*/ 0 w 2443"/>
                <a:gd name="T55" fmla="*/ 280 h 426"/>
                <a:gd name="T56" fmla="*/ 1 w 2443"/>
                <a:gd name="T57" fmla="*/ 277 h 426"/>
                <a:gd name="T58" fmla="*/ 2 w 2443"/>
                <a:gd name="T59" fmla="*/ 275 h 426"/>
                <a:gd name="T60" fmla="*/ 5 w 2443"/>
                <a:gd name="T61" fmla="*/ 273 h 426"/>
                <a:gd name="T62" fmla="*/ 8 w 2443"/>
                <a:gd name="T63" fmla="*/ 270 h 426"/>
                <a:gd name="T64" fmla="*/ 19 w 2443"/>
                <a:gd name="T65" fmla="*/ 264 h 426"/>
                <a:gd name="T66" fmla="*/ 33 w 2443"/>
                <a:gd name="T67" fmla="*/ 258 h 426"/>
                <a:gd name="T68" fmla="*/ 50 w 2443"/>
                <a:gd name="T69" fmla="*/ 250 h 426"/>
                <a:gd name="T70" fmla="*/ 71 w 2443"/>
                <a:gd name="T71" fmla="*/ 243 h 426"/>
                <a:gd name="T72" fmla="*/ 676 w 2443"/>
                <a:gd name="T73" fmla="*/ 33 h 426"/>
                <a:gd name="T74" fmla="*/ 699 w 2443"/>
                <a:gd name="T75" fmla="*/ 25 h 426"/>
                <a:gd name="T76" fmla="*/ 721 w 2443"/>
                <a:gd name="T77" fmla="*/ 19 h 426"/>
                <a:gd name="T78" fmla="*/ 745 w 2443"/>
                <a:gd name="T79" fmla="*/ 12 h 426"/>
                <a:gd name="T80" fmla="*/ 765 w 2443"/>
                <a:gd name="T81" fmla="*/ 8 h 426"/>
                <a:gd name="T82" fmla="*/ 786 w 2443"/>
                <a:gd name="T83" fmla="*/ 4 h 426"/>
                <a:gd name="T84" fmla="*/ 804 w 2443"/>
                <a:gd name="T85" fmla="*/ 1 h 426"/>
                <a:gd name="T86" fmla="*/ 819 w 2443"/>
                <a:gd name="T87" fmla="*/ 0 h 426"/>
                <a:gd name="T88" fmla="*/ 830 w 2443"/>
                <a:gd name="T89" fmla="*/ 0 h 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443" h="426">
                  <a:moveTo>
                    <a:pt x="830" y="0"/>
                  </a:moveTo>
                  <a:lnTo>
                    <a:pt x="2434" y="142"/>
                  </a:lnTo>
                  <a:lnTo>
                    <a:pt x="2438" y="142"/>
                  </a:lnTo>
                  <a:lnTo>
                    <a:pt x="2441" y="143"/>
                  </a:lnTo>
                  <a:lnTo>
                    <a:pt x="2443" y="144"/>
                  </a:lnTo>
                  <a:lnTo>
                    <a:pt x="2443" y="147"/>
                  </a:lnTo>
                  <a:lnTo>
                    <a:pt x="2443" y="148"/>
                  </a:lnTo>
                  <a:lnTo>
                    <a:pt x="2441" y="150"/>
                  </a:lnTo>
                  <a:lnTo>
                    <a:pt x="2438" y="152"/>
                  </a:lnTo>
                  <a:lnTo>
                    <a:pt x="2435" y="156"/>
                  </a:lnTo>
                  <a:lnTo>
                    <a:pt x="2424" y="162"/>
                  </a:lnTo>
                  <a:lnTo>
                    <a:pt x="2411" y="169"/>
                  </a:lnTo>
                  <a:lnTo>
                    <a:pt x="2393" y="176"/>
                  </a:lnTo>
                  <a:lnTo>
                    <a:pt x="2372" y="184"/>
                  </a:lnTo>
                  <a:lnTo>
                    <a:pt x="1767" y="393"/>
                  </a:lnTo>
                  <a:lnTo>
                    <a:pt x="1745" y="400"/>
                  </a:lnTo>
                  <a:lnTo>
                    <a:pt x="1722" y="407"/>
                  </a:lnTo>
                  <a:lnTo>
                    <a:pt x="1700" y="413"/>
                  </a:lnTo>
                  <a:lnTo>
                    <a:pt x="1678" y="418"/>
                  </a:lnTo>
                  <a:lnTo>
                    <a:pt x="1658" y="422"/>
                  </a:lnTo>
                  <a:lnTo>
                    <a:pt x="1640" y="424"/>
                  </a:lnTo>
                  <a:lnTo>
                    <a:pt x="1624" y="426"/>
                  </a:lnTo>
                  <a:lnTo>
                    <a:pt x="1614" y="426"/>
                  </a:lnTo>
                  <a:lnTo>
                    <a:pt x="9" y="283"/>
                  </a:lnTo>
                  <a:lnTo>
                    <a:pt x="6" y="283"/>
                  </a:lnTo>
                  <a:lnTo>
                    <a:pt x="2" y="282"/>
                  </a:lnTo>
                  <a:lnTo>
                    <a:pt x="1" y="281"/>
                  </a:lnTo>
                  <a:lnTo>
                    <a:pt x="0" y="280"/>
                  </a:lnTo>
                  <a:lnTo>
                    <a:pt x="1" y="277"/>
                  </a:lnTo>
                  <a:lnTo>
                    <a:pt x="2" y="275"/>
                  </a:lnTo>
                  <a:lnTo>
                    <a:pt x="5" y="273"/>
                  </a:lnTo>
                  <a:lnTo>
                    <a:pt x="8" y="270"/>
                  </a:lnTo>
                  <a:lnTo>
                    <a:pt x="19" y="264"/>
                  </a:lnTo>
                  <a:lnTo>
                    <a:pt x="33" y="258"/>
                  </a:lnTo>
                  <a:lnTo>
                    <a:pt x="50" y="250"/>
                  </a:lnTo>
                  <a:lnTo>
                    <a:pt x="71" y="243"/>
                  </a:lnTo>
                  <a:lnTo>
                    <a:pt x="676" y="33"/>
                  </a:lnTo>
                  <a:lnTo>
                    <a:pt x="699" y="25"/>
                  </a:lnTo>
                  <a:lnTo>
                    <a:pt x="721" y="19"/>
                  </a:lnTo>
                  <a:lnTo>
                    <a:pt x="745" y="12"/>
                  </a:lnTo>
                  <a:lnTo>
                    <a:pt x="765" y="8"/>
                  </a:lnTo>
                  <a:lnTo>
                    <a:pt x="786" y="4"/>
                  </a:lnTo>
                  <a:lnTo>
                    <a:pt x="804" y="1"/>
                  </a:lnTo>
                  <a:lnTo>
                    <a:pt x="819" y="0"/>
                  </a:lnTo>
                  <a:lnTo>
                    <a:pt x="830" y="0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108"/>
            <p:cNvSpPr>
              <a:spLocks/>
            </p:cNvSpPr>
            <p:nvPr/>
          </p:nvSpPr>
          <p:spPr bwMode="auto">
            <a:xfrm>
              <a:off x="4885405" y="3931786"/>
              <a:ext cx="1951780" cy="273054"/>
            </a:xfrm>
            <a:custGeom>
              <a:avLst/>
              <a:gdLst>
                <a:gd name="T0" fmla="*/ 998 w 5604"/>
                <a:gd name="T1" fmla="*/ 0 h 785"/>
                <a:gd name="T2" fmla="*/ 5592 w 5604"/>
                <a:gd name="T3" fmla="*/ 397 h 785"/>
                <a:gd name="T4" fmla="*/ 5597 w 5604"/>
                <a:gd name="T5" fmla="*/ 398 h 785"/>
                <a:gd name="T6" fmla="*/ 5600 w 5604"/>
                <a:gd name="T7" fmla="*/ 399 h 785"/>
                <a:gd name="T8" fmla="*/ 5603 w 5604"/>
                <a:gd name="T9" fmla="*/ 400 h 785"/>
                <a:gd name="T10" fmla="*/ 5604 w 5604"/>
                <a:gd name="T11" fmla="*/ 403 h 785"/>
                <a:gd name="T12" fmla="*/ 5603 w 5604"/>
                <a:gd name="T13" fmla="*/ 405 h 785"/>
                <a:gd name="T14" fmla="*/ 5601 w 5604"/>
                <a:gd name="T15" fmla="*/ 407 h 785"/>
                <a:gd name="T16" fmla="*/ 5598 w 5604"/>
                <a:gd name="T17" fmla="*/ 411 h 785"/>
                <a:gd name="T18" fmla="*/ 5593 w 5604"/>
                <a:gd name="T19" fmla="*/ 414 h 785"/>
                <a:gd name="T20" fmla="*/ 5581 w 5604"/>
                <a:gd name="T21" fmla="*/ 421 h 785"/>
                <a:gd name="T22" fmla="*/ 5564 w 5604"/>
                <a:gd name="T23" fmla="*/ 429 h 785"/>
                <a:gd name="T24" fmla="*/ 5544 w 5604"/>
                <a:gd name="T25" fmla="*/ 437 h 785"/>
                <a:gd name="T26" fmla="*/ 5518 w 5604"/>
                <a:gd name="T27" fmla="*/ 447 h 785"/>
                <a:gd name="T28" fmla="*/ 4661 w 5604"/>
                <a:gd name="T29" fmla="*/ 744 h 785"/>
                <a:gd name="T30" fmla="*/ 4634 w 5604"/>
                <a:gd name="T31" fmla="*/ 753 h 785"/>
                <a:gd name="T32" fmla="*/ 4607 w 5604"/>
                <a:gd name="T33" fmla="*/ 762 h 785"/>
                <a:gd name="T34" fmla="*/ 4579 w 5604"/>
                <a:gd name="T35" fmla="*/ 768 h 785"/>
                <a:gd name="T36" fmla="*/ 4554 w 5604"/>
                <a:gd name="T37" fmla="*/ 774 h 785"/>
                <a:gd name="T38" fmla="*/ 4529 w 5604"/>
                <a:gd name="T39" fmla="*/ 779 h 785"/>
                <a:gd name="T40" fmla="*/ 4508 w 5604"/>
                <a:gd name="T41" fmla="*/ 782 h 785"/>
                <a:gd name="T42" fmla="*/ 4490 w 5604"/>
                <a:gd name="T43" fmla="*/ 785 h 785"/>
                <a:gd name="T44" fmla="*/ 4476 w 5604"/>
                <a:gd name="T45" fmla="*/ 784 h 785"/>
                <a:gd name="T46" fmla="*/ 12 w 5604"/>
                <a:gd name="T47" fmla="*/ 341 h 785"/>
                <a:gd name="T48" fmla="*/ 7 w 5604"/>
                <a:gd name="T49" fmla="*/ 340 h 785"/>
                <a:gd name="T50" fmla="*/ 4 w 5604"/>
                <a:gd name="T51" fmla="*/ 339 h 785"/>
                <a:gd name="T52" fmla="*/ 1 w 5604"/>
                <a:gd name="T53" fmla="*/ 337 h 785"/>
                <a:gd name="T54" fmla="*/ 0 w 5604"/>
                <a:gd name="T55" fmla="*/ 335 h 785"/>
                <a:gd name="T56" fmla="*/ 1 w 5604"/>
                <a:gd name="T57" fmla="*/ 333 h 785"/>
                <a:gd name="T58" fmla="*/ 3 w 5604"/>
                <a:gd name="T59" fmla="*/ 330 h 785"/>
                <a:gd name="T60" fmla="*/ 6 w 5604"/>
                <a:gd name="T61" fmla="*/ 327 h 785"/>
                <a:gd name="T62" fmla="*/ 11 w 5604"/>
                <a:gd name="T63" fmla="*/ 324 h 785"/>
                <a:gd name="T64" fmla="*/ 22 w 5604"/>
                <a:gd name="T65" fmla="*/ 317 h 785"/>
                <a:gd name="T66" fmla="*/ 40 w 5604"/>
                <a:gd name="T67" fmla="*/ 309 h 785"/>
                <a:gd name="T68" fmla="*/ 60 w 5604"/>
                <a:gd name="T69" fmla="*/ 300 h 785"/>
                <a:gd name="T70" fmla="*/ 85 w 5604"/>
                <a:gd name="T71" fmla="*/ 291 h 785"/>
                <a:gd name="T72" fmla="*/ 813 w 5604"/>
                <a:gd name="T73" fmla="*/ 39 h 785"/>
                <a:gd name="T74" fmla="*/ 840 w 5604"/>
                <a:gd name="T75" fmla="*/ 30 h 785"/>
                <a:gd name="T76" fmla="*/ 867 w 5604"/>
                <a:gd name="T77" fmla="*/ 22 h 785"/>
                <a:gd name="T78" fmla="*/ 894 w 5604"/>
                <a:gd name="T79" fmla="*/ 15 h 785"/>
                <a:gd name="T80" fmla="*/ 921 w 5604"/>
                <a:gd name="T81" fmla="*/ 9 h 785"/>
                <a:gd name="T82" fmla="*/ 945 w 5604"/>
                <a:gd name="T83" fmla="*/ 4 h 785"/>
                <a:gd name="T84" fmla="*/ 966 w 5604"/>
                <a:gd name="T85" fmla="*/ 1 h 785"/>
                <a:gd name="T86" fmla="*/ 984 w 5604"/>
                <a:gd name="T87" fmla="*/ 0 h 785"/>
                <a:gd name="T88" fmla="*/ 998 w 5604"/>
                <a:gd name="T89" fmla="*/ 0 h 7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604" h="785">
                  <a:moveTo>
                    <a:pt x="998" y="0"/>
                  </a:moveTo>
                  <a:lnTo>
                    <a:pt x="5592" y="397"/>
                  </a:lnTo>
                  <a:lnTo>
                    <a:pt x="5597" y="398"/>
                  </a:lnTo>
                  <a:lnTo>
                    <a:pt x="5600" y="399"/>
                  </a:lnTo>
                  <a:lnTo>
                    <a:pt x="5603" y="400"/>
                  </a:lnTo>
                  <a:lnTo>
                    <a:pt x="5604" y="403"/>
                  </a:lnTo>
                  <a:lnTo>
                    <a:pt x="5603" y="405"/>
                  </a:lnTo>
                  <a:lnTo>
                    <a:pt x="5601" y="407"/>
                  </a:lnTo>
                  <a:lnTo>
                    <a:pt x="5598" y="411"/>
                  </a:lnTo>
                  <a:lnTo>
                    <a:pt x="5593" y="414"/>
                  </a:lnTo>
                  <a:lnTo>
                    <a:pt x="5581" y="421"/>
                  </a:lnTo>
                  <a:lnTo>
                    <a:pt x="5564" y="429"/>
                  </a:lnTo>
                  <a:lnTo>
                    <a:pt x="5544" y="437"/>
                  </a:lnTo>
                  <a:lnTo>
                    <a:pt x="5518" y="447"/>
                  </a:lnTo>
                  <a:lnTo>
                    <a:pt x="4661" y="744"/>
                  </a:lnTo>
                  <a:lnTo>
                    <a:pt x="4634" y="753"/>
                  </a:lnTo>
                  <a:lnTo>
                    <a:pt x="4607" y="762"/>
                  </a:lnTo>
                  <a:lnTo>
                    <a:pt x="4579" y="768"/>
                  </a:lnTo>
                  <a:lnTo>
                    <a:pt x="4554" y="774"/>
                  </a:lnTo>
                  <a:lnTo>
                    <a:pt x="4529" y="779"/>
                  </a:lnTo>
                  <a:lnTo>
                    <a:pt x="4508" y="782"/>
                  </a:lnTo>
                  <a:lnTo>
                    <a:pt x="4490" y="785"/>
                  </a:lnTo>
                  <a:lnTo>
                    <a:pt x="4476" y="784"/>
                  </a:lnTo>
                  <a:lnTo>
                    <a:pt x="12" y="341"/>
                  </a:lnTo>
                  <a:lnTo>
                    <a:pt x="7" y="340"/>
                  </a:lnTo>
                  <a:lnTo>
                    <a:pt x="4" y="339"/>
                  </a:lnTo>
                  <a:lnTo>
                    <a:pt x="1" y="337"/>
                  </a:lnTo>
                  <a:lnTo>
                    <a:pt x="0" y="335"/>
                  </a:lnTo>
                  <a:lnTo>
                    <a:pt x="1" y="333"/>
                  </a:lnTo>
                  <a:lnTo>
                    <a:pt x="3" y="330"/>
                  </a:lnTo>
                  <a:lnTo>
                    <a:pt x="6" y="327"/>
                  </a:lnTo>
                  <a:lnTo>
                    <a:pt x="11" y="324"/>
                  </a:lnTo>
                  <a:lnTo>
                    <a:pt x="22" y="317"/>
                  </a:lnTo>
                  <a:lnTo>
                    <a:pt x="40" y="309"/>
                  </a:lnTo>
                  <a:lnTo>
                    <a:pt x="60" y="300"/>
                  </a:lnTo>
                  <a:lnTo>
                    <a:pt x="85" y="291"/>
                  </a:lnTo>
                  <a:lnTo>
                    <a:pt x="813" y="39"/>
                  </a:lnTo>
                  <a:lnTo>
                    <a:pt x="840" y="30"/>
                  </a:lnTo>
                  <a:lnTo>
                    <a:pt x="867" y="22"/>
                  </a:lnTo>
                  <a:lnTo>
                    <a:pt x="894" y="15"/>
                  </a:lnTo>
                  <a:lnTo>
                    <a:pt x="921" y="9"/>
                  </a:lnTo>
                  <a:lnTo>
                    <a:pt x="945" y="4"/>
                  </a:lnTo>
                  <a:lnTo>
                    <a:pt x="966" y="1"/>
                  </a:lnTo>
                  <a:lnTo>
                    <a:pt x="984" y="0"/>
                  </a:lnTo>
                  <a:lnTo>
                    <a:pt x="998" y="0"/>
                  </a:lnTo>
                  <a:close/>
                </a:path>
              </a:pathLst>
            </a:cu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109"/>
            <p:cNvSpPr>
              <a:spLocks/>
            </p:cNvSpPr>
            <p:nvPr/>
          </p:nvSpPr>
          <p:spPr bwMode="auto">
            <a:xfrm>
              <a:off x="5172391" y="2399339"/>
              <a:ext cx="2196971" cy="1570062"/>
            </a:xfrm>
            <a:custGeom>
              <a:avLst/>
              <a:gdLst>
                <a:gd name="T0" fmla="*/ 448 w 6306"/>
                <a:gd name="T1" fmla="*/ 0 h 4510"/>
                <a:gd name="T2" fmla="*/ 6306 w 6306"/>
                <a:gd name="T3" fmla="*/ 126 h 4510"/>
                <a:gd name="T4" fmla="*/ 5806 w 6306"/>
                <a:gd name="T5" fmla="*/ 4510 h 4510"/>
                <a:gd name="T6" fmla="*/ 0 w 6306"/>
                <a:gd name="T7" fmla="*/ 4038 h 4510"/>
                <a:gd name="T8" fmla="*/ 448 w 6306"/>
                <a:gd name="T9" fmla="*/ 0 h 4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06" h="4510">
                  <a:moveTo>
                    <a:pt x="448" y="0"/>
                  </a:moveTo>
                  <a:lnTo>
                    <a:pt x="6306" y="126"/>
                  </a:lnTo>
                  <a:lnTo>
                    <a:pt x="5806" y="4510"/>
                  </a:lnTo>
                  <a:lnTo>
                    <a:pt x="0" y="4038"/>
                  </a:lnTo>
                  <a:lnTo>
                    <a:pt x="448" y="0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110"/>
            <p:cNvSpPr>
              <a:spLocks/>
            </p:cNvSpPr>
            <p:nvPr/>
          </p:nvSpPr>
          <p:spPr bwMode="auto">
            <a:xfrm>
              <a:off x="5325635" y="2399339"/>
              <a:ext cx="2043727" cy="73836"/>
            </a:xfrm>
            <a:custGeom>
              <a:avLst/>
              <a:gdLst>
                <a:gd name="T0" fmla="*/ 11 w 5869"/>
                <a:gd name="T1" fmla="*/ 0 h 212"/>
                <a:gd name="T2" fmla="*/ 5869 w 5869"/>
                <a:gd name="T3" fmla="*/ 126 h 212"/>
                <a:gd name="T4" fmla="*/ 5858 w 5869"/>
                <a:gd name="T5" fmla="*/ 212 h 212"/>
                <a:gd name="T6" fmla="*/ 0 w 5869"/>
                <a:gd name="T7" fmla="*/ 86 h 212"/>
                <a:gd name="T8" fmla="*/ 11 w 5869"/>
                <a:gd name="T9" fmla="*/ 0 h 2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69" h="212">
                  <a:moveTo>
                    <a:pt x="11" y="0"/>
                  </a:moveTo>
                  <a:lnTo>
                    <a:pt x="5869" y="126"/>
                  </a:lnTo>
                  <a:lnTo>
                    <a:pt x="5858" y="212"/>
                  </a:lnTo>
                  <a:lnTo>
                    <a:pt x="0" y="86"/>
                  </a:lnTo>
                  <a:lnTo>
                    <a:pt x="11" y="0"/>
                  </a:ln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131"/>
            <p:cNvSpPr>
              <a:spLocks/>
            </p:cNvSpPr>
            <p:nvPr/>
          </p:nvSpPr>
          <p:spPr bwMode="auto">
            <a:xfrm>
              <a:off x="7267662" y="2513576"/>
              <a:ext cx="58511" cy="57119"/>
            </a:xfrm>
            <a:custGeom>
              <a:avLst/>
              <a:gdLst>
                <a:gd name="T0" fmla="*/ 51 w 167"/>
                <a:gd name="T1" fmla="*/ 0 h 164"/>
                <a:gd name="T2" fmla="*/ 130 w 167"/>
                <a:gd name="T3" fmla="*/ 7 h 164"/>
                <a:gd name="T4" fmla="*/ 138 w 167"/>
                <a:gd name="T5" fmla="*/ 9 h 164"/>
                <a:gd name="T6" fmla="*/ 146 w 167"/>
                <a:gd name="T7" fmla="*/ 12 h 164"/>
                <a:gd name="T8" fmla="*/ 152 w 167"/>
                <a:gd name="T9" fmla="*/ 16 h 164"/>
                <a:gd name="T10" fmla="*/ 158 w 167"/>
                <a:gd name="T11" fmla="*/ 22 h 164"/>
                <a:gd name="T12" fmla="*/ 162 w 167"/>
                <a:gd name="T13" fmla="*/ 28 h 164"/>
                <a:gd name="T14" fmla="*/ 166 w 167"/>
                <a:gd name="T15" fmla="*/ 36 h 164"/>
                <a:gd name="T16" fmla="*/ 167 w 167"/>
                <a:gd name="T17" fmla="*/ 43 h 164"/>
                <a:gd name="T18" fmla="*/ 167 w 167"/>
                <a:gd name="T19" fmla="*/ 51 h 164"/>
                <a:gd name="T20" fmla="*/ 160 w 167"/>
                <a:gd name="T21" fmla="*/ 127 h 164"/>
                <a:gd name="T22" fmla="*/ 159 w 167"/>
                <a:gd name="T23" fmla="*/ 136 h 164"/>
                <a:gd name="T24" fmla="*/ 155 w 167"/>
                <a:gd name="T25" fmla="*/ 142 h 164"/>
                <a:gd name="T26" fmla="*/ 151 w 167"/>
                <a:gd name="T27" fmla="*/ 149 h 164"/>
                <a:gd name="T28" fmla="*/ 146 w 167"/>
                <a:gd name="T29" fmla="*/ 155 h 164"/>
                <a:gd name="T30" fmla="*/ 139 w 167"/>
                <a:gd name="T31" fmla="*/ 159 h 164"/>
                <a:gd name="T32" fmla="*/ 132 w 167"/>
                <a:gd name="T33" fmla="*/ 162 h 164"/>
                <a:gd name="T34" fmla="*/ 124 w 167"/>
                <a:gd name="T35" fmla="*/ 164 h 164"/>
                <a:gd name="T36" fmla="*/ 116 w 167"/>
                <a:gd name="T37" fmla="*/ 164 h 164"/>
                <a:gd name="T38" fmla="*/ 37 w 167"/>
                <a:gd name="T39" fmla="*/ 156 h 164"/>
                <a:gd name="T40" fmla="*/ 29 w 167"/>
                <a:gd name="T41" fmla="*/ 155 h 164"/>
                <a:gd name="T42" fmla="*/ 21 w 167"/>
                <a:gd name="T43" fmla="*/ 152 h 164"/>
                <a:gd name="T44" fmla="*/ 15 w 167"/>
                <a:gd name="T45" fmla="*/ 147 h 164"/>
                <a:gd name="T46" fmla="*/ 9 w 167"/>
                <a:gd name="T47" fmla="*/ 141 h 164"/>
                <a:gd name="T48" fmla="*/ 5 w 167"/>
                <a:gd name="T49" fmla="*/ 136 h 164"/>
                <a:gd name="T50" fmla="*/ 2 w 167"/>
                <a:gd name="T51" fmla="*/ 129 h 164"/>
                <a:gd name="T52" fmla="*/ 0 w 167"/>
                <a:gd name="T53" fmla="*/ 120 h 164"/>
                <a:gd name="T54" fmla="*/ 0 w 167"/>
                <a:gd name="T55" fmla="*/ 112 h 164"/>
                <a:gd name="T56" fmla="*/ 7 w 167"/>
                <a:gd name="T57" fmla="*/ 36 h 164"/>
                <a:gd name="T58" fmla="*/ 8 w 167"/>
                <a:gd name="T59" fmla="*/ 28 h 164"/>
                <a:gd name="T60" fmla="*/ 12 w 167"/>
                <a:gd name="T61" fmla="*/ 21 h 164"/>
                <a:gd name="T62" fmla="*/ 16 w 167"/>
                <a:gd name="T63" fmla="*/ 14 h 164"/>
                <a:gd name="T64" fmla="*/ 22 w 167"/>
                <a:gd name="T65" fmla="*/ 8 h 164"/>
                <a:gd name="T66" fmla="*/ 28 w 167"/>
                <a:gd name="T67" fmla="*/ 5 h 164"/>
                <a:gd name="T68" fmla="*/ 35 w 167"/>
                <a:gd name="T69" fmla="*/ 1 h 164"/>
                <a:gd name="T70" fmla="*/ 43 w 167"/>
                <a:gd name="T71" fmla="*/ 0 h 164"/>
                <a:gd name="T72" fmla="*/ 51 w 167"/>
                <a:gd name="T73" fmla="*/ 0 h 1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7" h="164">
                  <a:moveTo>
                    <a:pt x="51" y="0"/>
                  </a:moveTo>
                  <a:lnTo>
                    <a:pt x="130" y="7"/>
                  </a:lnTo>
                  <a:lnTo>
                    <a:pt x="138" y="9"/>
                  </a:lnTo>
                  <a:lnTo>
                    <a:pt x="146" y="12"/>
                  </a:lnTo>
                  <a:lnTo>
                    <a:pt x="152" y="16"/>
                  </a:lnTo>
                  <a:lnTo>
                    <a:pt x="158" y="22"/>
                  </a:lnTo>
                  <a:lnTo>
                    <a:pt x="162" y="28"/>
                  </a:lnTo>
                  <a:lnTo>
                    <a:pt x="166" y="36"/>
                  </a:lnTo>
                  <a:lnTo>
                    <a:pt x="167" y="43"/>
                  </a:lnTo>
                  <a:lnTo>
                    <a:pt x="167" y="51"/>
                  </a:lnTo>
                  <a:lnTo>
                    <a:pt x="160" y="127"/>
                  </a:lnTo>
                  <a:lnTo>
                    <a:pt x="159" y="136"/>
                  </a:lnTo>
                  <a:lnTo>
                    <a:pt x="155" y="142"/>
                  </a:lnTo>
                  <a:lnTo>
                    <a:pt x="151" y="149"/>
                  </a:lnTo>
                  <a:lnTo>
                    <a:pt x="146" y="155"/>
                  </a:lnTo>
                  <a:lnTo>
                    <a:pt x="139" y="159"/>
                  </a:lnTo>
                  <a:lnTo>
                    <a:pt x="132" y="162"/>
                  </a:lnTo>
                  <a:lnTo>
                    <a:pt x="124" y="164"/>
                  </a:lnTo>
                  <a:lnTo>
                    <a:pt x="116" y="164"/>
                  </a:lnTo>
                  <a:lnTo>
                    <a:pt x="37" y="156"/>
                  </a:lnTo>
                  <a:lnTo>
                    <a:pt x="29" y="155"/>
                  </a:lnTo>
                  <a:lnTo>
                    <a:pt x="21" y="152"/>
                  </a:lnTo>
                  <a:lnTo>
                    <a:pt x="15" y="147"/>
                  </a:lnTo>
                  <a:lnTo>
                    <a:pt x="9" y="141"/>
                  </a:lnTo>
                  <a:lnTo>
                    <a:pt x="5" y="136"/>
                  </a:lnTo>
                  <a:lnTo>
                    <a:pt x="2" y="129"/>
                  </a:lnTo>
                  <a:lnTo>
                    <a:pt x="0" y="120"/>
                  </a:lnTo>
                  <a:lnTo>
                    <a:pt x="0" y="112"/>
                  </a:lnTo>
                  <a:lnTo>
                    <a:pt x="7" y="36"/>
                  </a:lnTo>
                  <a:lnTo>
                    <a:pt x="8" y="28"/>
                  </a:lnTo>
                  <a:lnTo>
                    <a:pt x="12" y="21"/>
                  </a:lnTo>
                  <a:lnTo>
                    <a:pt x="16" y="14"/>
                  </a:lnTo>
                  <a:lnTo>
                    <a:pt x="22" y="8"/>
                  </a:lnTo>
                  <a:lnTo>
                    <a:pt x="28" y="5"/>
                  </a:lnTo>
                  <a:lnTo>
                    <a:pt x="35" y="1"/>
                  </a:lnTo>
                  <a:lnTo>
                    <a:pt x="43" y="0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rgbClr val="727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132"/>
            <p:cNvSpPr>
              <a:spLocks/>
            </p:cNvSpPr>
            <p:nvPr/>
          </p:nvSpPr>
          <p:spPr bwMode="auto">
            <a:xfrm>
              <a:off x="7253731" y="2626421"/>
              <a:ext cx="58511" cy="57119"/>
            </a:xfrm>
            <a:custGeom>
              <a:avLst/>
              <a:gdLst>
                <a:gd name="T0" fmla="*/ 52 w 168"/>
                <a:gd name="T1" fmla="*/ 0 h 165"/>
                <a:gd name="T2" fmla="*/ 131 w 168"/>
                <a:gd name="T3" fmla="*/ 7 h 165"/>
                <a:gd name="T4" fmla="*/ 139 w 168"/>
                <a:gd name="T5" fmla="*/ 10 h 165"/>
                <a:gd name="T6" fmla="*/ 146 w 168"/>
                <a:gd name="T7" fmla="*/ 12 h 165"/>
                <a:gd name="T8" fmla="*/ 153 w 168"/>
                <a:gd name="T9" fmla="*/ 16 h 165"/>
                <a:gd name="T10" fmla="*/ 158 w 168"/>
                <a:gd name="T11" fmla="*/ 22 h 165"/>
                <a:gd name="T12" fmla="*/ 162 w 168"/>
                <a:gd name="T13" fmla="*/ 29 h 165"/>
                <a:gd name="T14" fmla="*/ 165 w 168"/>
                <a:gd name="T15" fmla="*/ 36 h 165"/>
                <a:gd name="T16" fmla="*/ 166 w 168"/>
                <a:gd name="T17" fmla="*/ 44 h 165"/>
                <a:gd name="T18" fmla="*/ 168 w 168"/>
                <a:gd name="T19" fmla="*/ 52 h 165"/>
                <a:gd name="T20" fmla="*/ 161 w 168"/>
                <a:gd name="T21" fmla="*/ 128 h 165"/>
                <a:gd name="T22" fmla="*/ 158 w 168"/>
                <a:gd name="T23" fmla="*/ 136 h 165"/>
                <a:gd name="T24" fmla="*/ 156 w 168"/>
                <a:gd name="T25" fmla="*/ 144 h 165"/>
                <a:gd name="T26" fmla="*/ 151 w 168"/>
                <a:gd name="T27" fmla="*/ 150 h 165"/>
                <a:gd name="T28" fmla="*/ 146 w 168"/>
                <a:gd name="T29" fmla="*/ 155 h 165"/>
                <a:gd name="T30" fmla="*/ 139 w 168"/>
                <a:gd name="T31" fmla="*/ 160 h 165"/>
                <a:gd name="T32" fmla="*/ 132 w 168"/>
                <a:gd name="T33" fmla="*/ 162 h 165"/>
                <a:gd name="T34" fmla="*/ 124 w 168"/>
                <a:gd name="T35" fmla="*/ 165 h 165"/>
                <a:gd name="T36" fmla="*/ 115 w 168"/>
                <a:gd name="T37" fmla="*/ 165 h 165"/>
                <a:gd name="T38" fmla="*/ 37 w 168"/>
                <a:gd name="T39" fmla="*/ 157 h 165"/>
                <a:gd name="T40" fmla="*/ 29 w 168"/>
                <a:gd name="T41" fmla="*/ 155 h 165"/>
                <a:gd name="T42" fmla="*/ 22 w 168"/>
                <a:gd name="T43" fmla="*/ 152 h 165"/>
                <a:gd name="T44" fmla="*/ 15 w 168"/>
                <a:gd name="T45" fmla="*/ 147 h 165"/>
                <a:gd name="T46" fmla="*/ 9 w 168"/>
                <a:gd name="T47" fmla="*/ 143 h 165"/>
                <a:gd name="T48" fmla="*/ 5 w 168"/>
                <a:gd name="T49" fmla="*/ 136 h 165"/>
                <a:gd name="T50" fmla="*/ 2 w 168"/>
                <a:gd name="T51" fmla="*/ 129 h 165"/>
                <a:gd name="T52" fmla="*/ 0 w 168"/>
                <a:gd name="T53" fmla="*/ 121 h 165"/>
                <a:gd name="T54" fmla="*/ 0 w 168"/>
                <a:gd name="T55" fmla="*/ 113 h 165"/>
                <a:gd name="T56" fmla="*/ 7 w 168"/>
                <a:gd name="T57" fmla="*/ 36 h 165"/>
                <a:gd name="T58" fmla="*/ 9 w 168"/>
                <a:gd name="T59" fmla="*/ 28 h 165"/>
                <a:gd name="T60" fmla="*/ 11 w 168"/>
                <a:gd name="T61" fmla="*/ 21 h 165"/>
                <a:gd name="T62" fmla="*/ 16 w 168"/>
                <a:gd name="T63" fmla="*/ 14 h 165"/>
                <a:gd name="T64" fmla="*/ 22 w 168"/>
                <a:gd name="T65" fmla="*/ 10 h 165"/>
                <a:gd name="T66" fmla="*/ 29 w 168"/>
                <a:gd name="T67" fmla="*/ 5 h 165"/>
                <a:gd name="T68" fmla="*/ 36 w 168"/>
                <a:gd name="T69" fmla="*/ 1 h 165"/>
                <a:gd name="T70" fmla="*/ 44 w 168"/>
                <a:gd name="T71" fmla="*/ 0 h 165"/>
                <a:gd name="T72" fmla="*/ 52 w 168"/>
                <a:gd name="T73" fmla="*/ 0 h 1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8" h="165">
                  <a:moveTo>
                    <a:pt x="52" y="0"/>
                  </a:moveTo>
                  <a:lnTo>
                    <a:pt x="131" y="7"/>
                  </a:lnTo>
                  <a:lnTo>
                    <a:pt x="139" y="10"/>
                  </a:lnTo>
                  <a:lnTo>
                    <a:pt x="146" y="12"/>
                  </a:lnTo>
                  <a:lnTo>
                    <a:pt x="153" y="16"/>
                  </a:lnTo>
                  <a:lnTo>
                    <a:pt x="158" y="22"/>
                  </a:lnTo>
                  <a:lnTo>
                    <a:pt x="162" y="29"/>
                  </a:lnTo>
                  <a:lnTo>
                    <a:pt x="165" y="36"/>
                  </a:lnTo>
                  <a:lnTo>
                    <a:pt x="166" y="44"/>
                  </a:lnTo>
                  <a:lnTo>
                    <a:pt x="168" y="52"/>
                  </a:lnTo>
                  <a:lnTo>
                    <a:pt x="161" y="128"/>
                  </a:lnTo>
                  <a:lnTo>
                    <a:pt x="158" y="136"/>
                  </a:lnTo>
                  <a:lnTo>
                    <a:pt x="156" y="144"/>
                  </a:lnTo>
                  <a:lnTo>
                    <a:pt x="151" y="150"/>
                  </a:lnTo>
                  <a:lnTo>
                    <a:pt x="146" y="155"/>
                  </a:lnTo>
                  <a:lnTo>
                    <a:pt x="139" y="160"/>
                  </a:lnTo>
                  <a:lnTo>
                    <a:pt x="132" y="162"/>
                  </a:lnTo>
                  <a:lnTo>
                    <a:pt x="124" y="165"/>
                  </a:lnTo>
                  <a:lnTo>
                    <a:pt x="115" y="165"/>
                  </a:lnTo>
                  <a:lnTo>
                    <a:pt x="37" y="157"/>
                  </a:lnTo>
                  <a:lnTo>
                    <a:pt x="29" y="155"/>
                  </a:lnTo>
                  <a:lnTo>
                    <a:pt x="22" y="152"/>
                  </a:lnTo>
                  <a:lnTo>
                    <a:pt x="15" y="147"/>
                  </a:lnTo>
                  <a:lnTo>
                    <a:pt x="9" y="143"/>
                  </a:lnTo>
                  <a:lnTo>
                    <a:pt x="5" y="136"/>
                  </a:lnTo>
                  <a:lnTo>
                    <a:pt x="2" y="129"/>
                  </a:lnTo>
                  <a:lnTo>
                    <a:pt x="0" y="121"/>
                  </a:lnTo>
                  <a:lnTo>
                    <a:pt x="0" y="113"/>
                  </a:lnTo>
                  <a:lnTo>
                    <a:pt x="7" y="36"/>
                  </a:lnTo>
                  <a:lnTo>
                    <a:pt x="9" y="28"/>
                  </a:lnTo>
                  <a:lnTo>
                    <a:pt x="11" y="21"/>
                  </a:lnTo>
                  <a:lnTo>
                    <a:pt x="16" y="14"/>
                  </a:lnTo>
                  <a:lnTo>
                    <a:pt x="22" y="10"/>
                  </a:lnTo>
                  <a:lnTo>
                    <a:pt x="29" y="5"/>
                  </a:lnTo>
                  <a:lnTo>
                    <a:pt x="36" y="1"/>
                  </a:lnTo>
                  <a:lnTo>
                    <a:pt x="44" y="0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rgbClr val="72737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133"/>
            <p:cNvSpPr>
              <a:spLocks/>
            </p:cNvSpPr>
            <p:nvPr/>
          </p:nvSpPr>
          <p:spPr bwMode="auto">
            <a:xfrm>
              <a:off x="6051458" y="2349186"/>
              <a:ext cx="1391740" cy="1694050"/>
            </a:xfrm>
            <a:custGeom>
              <a:avLst/>
              <a:gdLst>
                <a:gd name="T0" fmla="*/ 2400 w 3997"/>
                <a:gd name="T1" fmla="*/ 0 h 4865"/>
                <a:gd name="T2" fmla="*/ 3850 w 3997"/>
                <a:gd name="T3" fmla="*/ 0 h 4865"/>
                <a:gd name="T4" fmla="*/ 3867 w 3997"/>
                <a:gd name="T5" fmla="*/ 0 h 4865"/>
                <a:gd name="T6" fmla="*/ 3883 w 3997"/>
                <a:gd name="T7" fmla="*/ 3 h 4865"/>
                <a:gd name="T8" fmla="*/ 3898 w 3997"/>
                <a:gd name="T9" fmla="*/ 6 h 4865"/>
                <a:gd name="T10" fmla="*/ 3912 w 3997"/>
                <a:gd name="T11" fmla="*/ 12 h 4865"/>
                <a:gd name="T12" fmla="*/ 3926 w 3997"/>
                <a:gd name="T13" fmla="*/ 19 h 4865"/>
                <a:gd name="T14" fmla="*/ 3939 w 3997"/>
                <a:gd name="T15" fmla="*/ 27 h 4865"/>
                <a:gd name="T16" fmla="*/ 3950 w 3997"/>
                <a:gd name="T17" fmla="*/ 37 h 4865"/>
                <a:gd name="T18" fmla="*/ 3961 w 3997"/>
                <a:gd name="T19" fmla="*/ 47 h 4865"/>
                <a:gd name="T20" fmla="*/ 3970 w 3997"/>
                <a:gd name="T21" fmla="*/ 60 h 4865"/>
                <a:gd name="T22" fmla="*/ 3978 w 3997"/>
                <a:gd name="T23" fmla="*/ 72 h 4865"/>
                <a:gd name="T24" fmla="*/ 3984 w 3997"/>
                <a:gd name="T25" fmla="*/ 85 h 4865"/>
                <a:gd name="T26" fmla="*/ 3990 w 3997"/>
                <a:gd name="T27" fmla="*/ 100 h 4865"/>
                <a:gd name="T28" fmla="*/ 3993 w 3997"/>
                <a:gd name="T29" fmla="*/ 115 h 4865"/>
                <a:gd name="T30" fmla="*/ 3996 w 3997"/>
                <a:gd name="T31" fmla="*/ 132 h 4865"/>
                <a:gd name="T32" fmla="*/ 3997 w 3997"/>
                <a:gd name="T33" fmla="*/ 148 h 4865"/>
                <a:gd name="T34" fmla="*/ 3996 w 3997"/>
                <a:gd name="T35" fmla="*/ 164 h 4865"/>
                <a:gd name="T36" fmla="*/ 3480 w 3997"/>
                <a:gd name="T37" fmla="*/ 4865 h 4865"/>
                <a:gd name="T38" fmla="*/ 0 w 3997"/>
                <a:gd name="T39" fmla="*/ 4588 h 4865"/>
                <a:gd name="T40" fmla="*/ 2400 w 3997"/>
                <a:gd name="T41" fmla="*/ 0 h 48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997" h="4865">
                  <a:moveTo>
                    <a:pt x="2400" y="0"/>
                  </a:moveTo>
                  <a:lnTo>
                    <a:pt x="3850" y="0"/>
                  </a:lnTo>
                  <a:lnTo>
                    <a:pt x="3867" y="0"/>
                  </a:lnTo>
                  <a:lnTo>
                    <a:pt x="3883" y="3"/>
                  </a:lnTo>
                  <a:lnTo>
                    <a:pt x="3898" y="6"/>
                  </a:lnTo>
                  <a:lnTo>
                    <a:pt x="3912" y="12"/>
                  </a:lnTo>
                  <a:lnTo>
                    <a:pt x="3926" y="19"/>
                  </a:lnTo>
                  <a:lnTo>
                    <a:pt x="3939" y="27"/>
                  </a:lnTo>
                  <a:lnTo>
                    <a:pt x="3950" y="37"/>
                  </a:lnTo>
                  <a:lnTo>
                    <a:pt x="3961" y="47"/>
                  </a:lnTo>
                  <a:lnTo>
                    <a:pt x="3970" y="60"/>
                  </a:lnTo>
                  <a:lnTo>
                    <a:pt x="3978" y="72"/>
                  </a:lnTo>
                  <a:lnTo>
                    <a:pt x="3984" y="85"/>
                  </a:lnTo>
                  <a:lnTo>
                    <a:pt x="3990" y="100"/>
                  </a:lnTo>
                  <a:lnTo>
                    <a:pt x="3993" y="115"/>
                  </a:lnTo>
                  <a:lnTo>
                    <a:pt x="3996" y="132"/>
                  </a:lnTo>
                  <a:lnTo>
                    <a:pt x="3997" y="148"/>
                  </a:lnTo>
                  <a:lnTo>
                    <a:pt x="3996" y="164"/>
                  </a:lnTo>
                  <a:lnTo>
                    <a:pt x="3480" y="4865"/>
                  </a:lnTo>
                  <a:lnTo>
                    <a:pt x="0" y="4588"/>
                  </a:lnTo>
                  <a:lnTo>
                    <a:pt x="2400" y="0"/>
                  </a:lnTo>
                  <a:close/>
                </a:path>
              </a:pathLst>
            </a:custGeom>
            <a:gradFill>
              <a:gsLst>
                <a:gs pos="0">
                  <a:schemeClr val="bg1">
                    <a:alpha val="36000"/>
                  </a:schemeClr>
                </a:gs>
                <a:gs pos="50000">
                  <a:schemeClr val="bg1">
                    <a:alpha val="13000"/>
                  </a:schemeClr>
                </a:gs>
                <a:gs pos="100000">
                  <a:schemeClr val="accent1">
                    <a:tint val="23500"/>
                    <a:satMod val="160000"/>
                    <a:alpha val="0"/>
                  </a:schemeClr>
                </a:gs>
              </a:gsLst>
              <a:lin ang="54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Oval 34"/>
            <p:cNvSpPr/>
            <p:nvPr/>
          </p:nvSpPr>
          <p:spPr>
            <a:xfrm>
              <a:off x="6617898" y="2577662"/>
              <a:ext cx="145761" cy="145761"/>
            </a:xfrm>
            <a:prstGeom prst="ellipse">
              <a:avLst/>
            </a:prstGeom>
            <a:solidFill>
              <a:schemeClr val="accent2"/>
            </a:solidFill>
            <a:ln w="28575">
              <a:solidFill>
                <a:schemeClr val="bg1">
                  <a:alpha val="5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6" name="Oval 35"/>
            <p:cNvSpPr/>
            <p:nvPr/>
          </p:nvSpPr>
          <p:spPr>
            <a:xfrm>
              <a:off x="5238471" y="3440637"/>
              <a:ext cx="145761" cy="145761"/>
            </a:xfrm>
            <a:prstGeom prst="ellipse">
              <a:avLst/>
            </a:prstGeom>
            <a:solidFill>
              <a:schemeClr val="accent1"/>
            </a:solidFill>
            <a:ln w="28575">
              <a:solidFill>
                <a:schemeClr val="bg1">
                  <a:alpha val="53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9" name="Shape 2587"/>
          <p:cNvSpPr/>
          <p:nvPr/>
        </p:nvSpPr>
        <p:spPr>
          <a:xfrm>
            <a:off x="6528574" y="2719546"/>
            <a:ext cx="501291" cy="50129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2281" y="19846"/>
                </a:moveTo>
                <a:lnTo>
                  <a:pt x="9413" y="12882"/>
                </a:lnTo>
                <a:lnTo>
                  <a:pt x="19655" y="2640"/>
                </a:lnTo>
                <a:cubicBezTo>
                  <a:pt x="19655" y="2640"/>
                  <a:pt x="12281" y="19846"/>
                  <a:pt x="12281" y="19846"/>
                </a:cubicBezTo>
                <a:close/>
                <a:moveTo>
                  <a:pt x="1755" y="9320"/>
                </a:moveTo>
                <a:lnTo>
                  <a:pt x="18960" y="1945"/>
                </a:lnTo>
                <a:lnTo>
                  <a:pt x="8719" y="12187"/>
                </a:lnTo>
                <a:cubicBezTo>
                  <a:pt x="8719" y="12187"/>
                  <a:pt x="1755" y="9320"/>
                  <a:pt x="1755" y="9320"/>
                </a:cubicBezTo>
                <a:close/>
                <a:moveTo>
                  <a:pt x="21600" y="491"/>
                </a:moveTo>
                <a:cubicBezTo>
                  <a:pt x="21600" y="220"/>
                  <a:pt x="21380" y="0"/>
                  <a:pt x="21109" y="0"/>
                </a:cubicBezTo>
                <a:cubicBezTo>
                  <a:pt x="21034" y="0"/>
                  <a:pt x="20964" y="20"/>
                  <a:pt x="20900" y="52"/>
                </a:cubicBezTo>
                <a:lnTo>
                  <a:pt x="20898" y="48"/>
                </a:lnTo>
                <a:lnTo>
                  <a:pt x="302" y="8875"/>
                </a:lnTo>
                <a:cubicBezTo>
                  <a:pt x="301" y="8875"/>
                  <a:pt x="299" y="8876"/>
                  <a:pt x="297" y="8877"/>
                </a:cubicBezTo>
                <a:lnTo>
                  <a:pt x="280" y="8885"/>
                </a:lnTo>
                <a:lnTo>
                  <a:pt x="281" y="8887"/>
                </a:lnTo>
                <a:cubicBezTo>
                  <a:pt x="116" y="8967"/>
                  <a:pt x="0" y="9132"/>
                  <a:pt x="0" y="9327"/>
                </a:cubicBezTo>
                <a:cubicBezTo>
                  <a:pt x="0" y="9550"/>
                  <a:pt x="151" y="9731"/>
                  <a:pt x="355" y="9791"/>
                </a:cubicBezTo>
                <a:lnTo>
                  <a:pt x="353" y="9799"/>
                </a:lnTo>
                <a:lnTo>
                  <a:pt x="8462" y="13138"/>
                </a:lnTo>
                <a:lnTo>
                  <a:pt x="11801" y="21248"/>
                </a:lnTo>
                <a:lnTo>
                  <a:pt x="11809" y="21245"/>
                </a:lnTo>
                <a:cubicBezTo>
                  <a:pt x="11869" y="21449"/>
                  <a:pt x="12050" y="21600"/>
                  <a:pt x="12273" y="21600"/>
                </a:cubicBezTo>
                <a:cubicBezTo>
                  <a:pt x="12468" y="21600"/>
                  <a:pt x="12634" y="21484"/>
                  <a:pt x="12713" y="21319"/>
                </a:cubicBezTo>
                <a:lnTo>
                  <a:pt x="12716" y="21320"/>
                </a:lnTo>
                <a:lnTo>
                  <a:pt x="12723" y="21303"/>
                </a:lnTo>
                <a:cubicBezTo>
                  <a:pt x="12724" y="21301"/>
                  <a:pt x="12725" y="21300"/>
                  <a:pt x="12725" y="21298"/>
                </a:cubicBezTo>
                <a:lnTo>
                  <a:pt x="21553" y="702"/>
                </a:lnTo>
                <a:lnTo>
                  <a:pt x="21547" y="699"/>
                </a:lnTo>
                <a:cubicBezTo>
                  <a:pt x="21578" y="636"/>
                  <a:pt x="21600" y="567"/>
                  <a:pt x="21600" y="491"/>
                </a:cubicBezTo>
                <a:moveTo>
                  <a:pt x="7855" y="16200"/>
                </a:moveTo>
                <a:cubicBezTo>
                  <a:pt x="7719" y="16200"/>
                  <a:pt x="7596" y="16255"/>
                  <a:pt x="7507" y="16344"/>
                </a:cubicBezTo>
                <a:lnTo>
                  <a:pt x="6035" y="17817"/>
                </a:lnTo>
                <a:cubicBezTo>
                  <a:pt x="5946" y="17905"/>
                  <a:pt x="5891" y="18029"/>
                  <a:pt x="5891" y="18164"/>
                </a:cubicBezTo>
                <a:cubicBezTo>
                  <a:pt x="5891" y="18435"/>
                  <a:pt x="6111" y="18655"/>
                  <a:pt x="6382" y="18655"/>
                </a:cubicBezTo>
                <a:cubicBezTo>
                  <a:pt x="6517" y="18655"/>
                  <a:pt x="6640" y="18600"/>
                  <a:pt x="6729" y="18511"/>
                </a:cubicBezTo>
                <a:lnTo>
                  <a:pt x="8202" y="17038"/>
                </a:lnTo>
                <a:cubicBezTo>
                  <a:pt x="8291" y="16950"/>
                  <a:pt x="8345" y="16827"/>
                  <a:pt x="8345" y="16691"/>
                </a:cubicBezTo>
                <a:cubicBezTo>
                  <a:pt x="8345" y="16420"/>
                  <a:pt x="8126" y="16200"/>
                  <a:pt x="7855" y="16200"/>
                </a:cubicBezTo>
                <a:moveTo>
                  <a:pt x="7855" y="14237"/>
                </a:moveTo>
                <a:cubicBezTo>
                  <a:pt x="7855" y="13966"/>
                  <a:pt x="7635" y="13745"/>
                  <a:pt x="7364" y="13745"/>
                </a:cubicBezTo>
                <a:cubicBezTo>
                  <a:pt x="7228" y="13745"/>
                  <a:pt x="7105" y="13801"/>
                  <a:pt x="7017" y="13889"/>
                </a:cubicBezTo>
                <a:lnTo>
                  <a:pt x="2107" y="18798"/>
                </a:lnTo>
                <a:cubicBezTo>
                  <a:pt x="2019" y="18888"/>
                  <a:pt x="1964" y="19011"/>
                  <a:pt x="1964" y="19145"/>
                </a:cubicBezTo>
                <a:cubicBezTo>
                  <a:pt x="1964" y="19417"/>
                  <a:pt x="2184" y="19636"/>
                  <a:pt x="2455" y="19636"/>
                </a:cubicBezTo>
                <a:cubicBezTo>
                  <a:pt x="2590" y="19636"/>
                  <a:pt x="2713" y="19582"/>
                  <a:pt x="2802" y="19493"/>
                </a:cubicBezTo>
                <a:lnTo>
                  <a:pt x="7711" y="14583"/>
                </a:lnTo>
                <a:cubicBezTo>
                  <a:pt x="7800" y="14495"/>
                  <a:pt x="7855" y="14372"/>
                  <a:pt x="7855" y="14237"/>
                </a:cubicBezTo>
                <a:moveTo>
                  <a:pt x="4765" y="14583"/>
                </a:moveTo>
                <a:lnTo>
                  <a:pt x="5256" y="14093"/>
                </a:lnTo>
                <a:cubicBezTo>
                  <a:pt x="5345" y="14004"/>
                  <a:pt x="5400" y="13881"/>
                  <a:pt x="5400" y="13745"/>
                </a:cubicBezTo>
                <a:cubicBezTo>
                  <a:pt x="5400" y="13475"/>
                  <a:pt x="5180" y="13255"/>
                  <a:pt x="4909" y="13255"/>
                </a:cubicBezTo>
                <a:cubicBezTo>
                  <a:pt x="4774" y="13255"/>
                  <a:pt x="4651" y="13310"/>
                  <a:pt x="4562" y="13398"/>
                </a:cubicBezTo>
                <a:lnTo>
                  <a:pt x="4071" y="13889"/>
                </a:lnTo>
                <a:cubicBezTo>
                  <a:pt x="3982" y="13979"/>
                  <a:pt x="3927" y="14101"/>
                  <a:pt x="3927" y="14237"/>
                </a:cubicBezTo>
                <a:cubicBezTo>
                  <a:pt x="3927" y="14507"/>
                  <a:pt x="4147" y="14727"/>
                  <a:pt x="4418" y="14727"/>
                </a:cubicBezTo>
                <a:cubicBezTo>
                  <a:pt x="4554" y="14727"/>
                  <a:pt x="4676" y="14673"/>
                  <a:pt x="4765" y="14583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sp>
        <p:nvSpPr>
          <p:cNvPr id="70" name="Shape 2617"/>
          <p:cNvSpPr/>
          <p:nvPr/>
        </p:nvSpPr>
        <p:spPr>
          <a:xfrm>
            <a:off x="5553790" y="3235540"/>
            <a:ext cx="501291" cy="41019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4457" y="20400"/>
                </a:moveTo>
                <a:cubicBezTo>
                  <a:pt x="4686" y="18711"/>
                  <a:pt x="5897" y="18036"/>
                  <a:pt x="7134" y="17493"/>
                </a:cubicBezTo>
                <a:lnTo>
                  <a:pt x="7173" y="17477"/>
                </a:lnTo>
                <a:cubicBezTo>
                  <a:pt x="8055" y="17190"/>
                  <a:pt x="9626" y="16039"/>
                  <a:pt x="9626" y="13569"/>
                </a:cubicBezTo>
                <a:cubicBezTo>
                  <a:pt x="9626" y="11474"/>
                  <a:pt x="8932" y="10452"/>
                  <a:pt x="8558" y="9902"/>
                </a:cubicBezTo>
                <a:cubicBezTo>
                  <a:pt x="8484" y="9791"/>
                  <a:pt x="8394" y="9649"/>
                  <a:pt x="8414" y="9680"/>
                </a:cubicBezTo>
                <a:cubicBezTo>
                  <a:pt x="8384" y="9599"/>
                  <a:pt x="8237" y="9129"/>
                  <a:pt x="8449" y="8035"/>
                </a:cubicBezTo>
                <a:cubicBezTo>
                  <a:pt x="8549" y="7522"/>
                  <a:pt x="8380" y="7241"/>
                  <a:pt x="8380" y="7241"/>
                </a:cubicBezTo>
                <a:cubicBezTo>
                  <a:pt x="8112" y="6505"/>
                  <a:pt x="7614" y="5133"/>
                  <a:pt x="7988" y="4025"/>
                </a:cubicBezTo>
                <a:cubicBezTo>
                  <a:pt x="8490" y="2492"/>
                  <a:pt x="8935" y="2190"/>
                  <a:pt x="9741" y="1747"/>
                </a:cubicBezTo>
                <a:cubicBezTo>
                  <a:pt x="9788" y="1721"/>
                  <a:pt x="9834" y="1691"/>
                  <a:pt x="9877" y="1657"/>
                </a:cubicBezTo>
                <a:cubicBezTo>
                  <a:pt x="10029" y="1535"/>
                  <a:pt x="10674" y="1200"/>
                  <a:pt x="11403" y="1200"/>
                </a:cubicBezTo>
                <a:cubicBezTo>
                  <a:pt x="11768" y="1200"/>
                  <a:pt x="12075" y="1285"/>
                  <a:pt x="12318" y="1454"/>
                </a:cubicBezTo>
                <a:cubicBezTo>
                  <a:pt x="12610" y="1655"/>
                  <a:pt x="12890" y="2039"/>
                  <a:pt x="13313" y="3271"/>
                </a:cubicBezTo>
                <a:cubicBezTo>
                  <a:pt x="14101" y="5469"/>
                  <a:pt x="13602" y="6698"/>
                  <a:pt x="13350" y="7124"/>
                </a:cubicBezTo>
                <a:cubicBezTo>
                  <a:pt x="13183" y="7407"/>
                  <a:pt x="13126" y="7764"/>
                  <a:pt x="13191" y="8102"/>
                </a:cubicBezTo>
                <a:cubicBezTo>
                  <a:pt x="13386" y="9109"/>
                  <a:pt x="13260" y="9534"/>
                  <a:pt x="13227" y="9619"/>
                </a:cubicBezTo>
                <a:cubicBezTo>
                  <a:pt x="13219" y="9631"/>
                  <a:pt x="13101" y="9814"/>
                  <a:pt x="13041" y="9902"/>
                </a:cubicBezTo>
                <a:cubicBezTo>
                  <a:pt x="12668" y="10452"/>
                  <a:pt x="11973" y="11474"/>
                  <a:pt x="11973" y="13569"/>
                </a:cubicBezTo>
                <a:cubicBezTo>
                  <a:pt x="11973" y="16039"/>
                  <a:pt x="13545" y="17190"/>
                  <a:pt x="14427" y="17477"/>
                </a:cubicBezTo>
                <a:lnTo>
                  <a:pt x="14466" y="17493"/>
                </a:lnTo>
                <a:cubicBezTo>
                  <a:pt x="15703" y="18036"/>
                  <a:pt x="16914" y="18711"/>
                  <a:pt x="17143" y="20400"/>
                </a:cubicBezTo>
                <a:cubicBezTo>
                  <a:pt x="17143" y="20400"/>
                  <a:pt x="4457" y="20400"/>
                  <a:pt x="4457" y="20400"/>
                </a:cubicBezTo>
                <a:close/>
                <a:moveTo>
                  <a:pt x="14715" y="16328"/>
                </a:moveTo>
                <a:cubicBezTo>
                  <a:pt x="14715" y="16328"/>
                  <a:pt x="12955" y="15815"/>
                  <a:pt x="12955" y="13569"/>
                </a:cubicBezTo>
                <a:cubicBezTo>
                  <a:pt x="12955" y="11596"/>
                  <a:pt x="13678" y="10901"/>
                  <a:pt x="13957" y="10421"/>
                </a:cubicBezTo>
                <a:cubicBezTo>
                  <a:pt x="13957" y="10421"/>
                  <a:pt x="14531" y="9807"/>
                  <a:pt x="14146" y="7826"/>
                </a:cubicBezTo>
                <a:cubicBezTo>
                  <a:pt x="14787" y="6740"/>
                  <a:pt x="14995" y="4972"/>
                  <a:pt x="14211" y="2789"/>
                </a:cubicBezTo>
                <a:cubicBezTo>
                  <a:pt x="13774" y="1514"/>
                  <a:pt x="13389" y="815"/>
                  <a:pt x="12801" y="409"/>
                </a:cubicBezTo>
                <a:cubicBezTo>
                  <a:pt x="12370" y="110"/>
                  <a:pt x="11880" y="0"/>
                  <a:pt x="11403" y="0"/>
                </a:cubicBezTo>
                <a:cubicBezTo>
                  <a:pt x="10516" y="0"/>
                  <a:pt x="9675" y="384"/>
                  <a:pt x="9339" y="653"/>
                </a:cubicBezTo>
                <a:cubicBezTo>
                  <a:pt x="8357" y="1192"/>
                  <a:pt x="7697" y="1688"/>
                  <a:pt x="7077" y="3579"/>
                </a:cubicBezTo>
                <a:cubicBezTo>
                  <a:pt x="6540" y="5168"/>
                  <a:pt x="7179" y="6892"/>
                  <a:pt x="7494" y="7758"/>
                </a:cubicBezTo>
                <a:cubicBezTo>
                  <a:pt x="7110" y="9740"/>
                  <a:pt x="7642" y="10421"/>
                  <a:pt x="7642" y="10421"/>
                </a:cubicBezTo>
                <a:cubicBezTo>
                  <a:pt x="7922" y="10901"/>
                  <a:pt x="8644" y="11596"/>
                  <a:pt x="8644" y="13569"/>
                </a:cubicBezTo>
                <a:cubicBezTo>
                  <a:pt x="8644" y="15815"/>
                  <a:pt x="6885" y="16328"/>
                  <a:pt x="6885" y="16328"/>
                </a:cubicBezTo>
                <a:cubicBezTo>
                  <a:pt x="5768" y="16819"/>
                  <a:pt x="3436" y="17760"/>
                  <a:pt x="3436" y="21000"/>
                </a:cubicBezTo>
                <a:cubicBezTo>
                  <a:pt x="3436" y="21000"/>
                  <a:pt x="3436" y="21600"/>
                  <a:pt x="3927" y="21600"/>
                </a:cubicBezTo>
                <a:lnTo>
                  <a:pt x="17673" y="21600"/>
                </a:lnTo>
                <a:cubicBezTo>
                  <a:pt x="18164" y="21600"/>
                  <a:pt x="18164" y="21000"/>
                  <a:pt x="18164" y="21000"/>
                </a:cubicBezTo>
                <a:cubicBezTo>
                  <a:pt x="18164" y="17760"/>
                  <a:pt x="15832" y="16819"/>
                  <a:pt x="14715" y="16328"/>
                </a:cubicBezTo>
                <a:moveTo>
                  <a:pt x="19516" y="15006"/>
                </a:moveTo>
                <a:cubicBezTo>
                  <a:pt x="19516" y="15006"/>
                  <a:pt x="18416" y="14701"/>
                  <a:pt x="18416" y="12954"/>
                </a:cubicBezTo>
                <a:cubicBezTo>
                  <a:pt x="18416" y="11419"/>
                  <a:pt x="18794" y="10879"/>
                  <a:pt x="19017" y="10506"/>
                </a:cubicBezTo>
                <a:cubicBezTo>
                  <a:pt x="19017" y="10506"/>
                  <a:pt x="19443" y="9975"/>
                  <a:pt x="19136" y="8435"/>
                </a:cubicBezTo>
                <a:cubicBezTo>
                  <a:pt x="19388" y="7760"/>
                  <a:pt x="19900" y="6419"/>
                  <a:pt x="19470" y="5184"/>
                </a:cubicBezTo>
                <a:cubicBezTo>
                  <a:pt x="18974" y="3714"/>
                  <a:pt x="18645" y="3327"/>
                  <a:pt x="17860" y="2908"/>
                </a:cubicBezTo>
                <a:cubicBezTo>
                  <a:pt x="17591" y="2699"/>
                  <a:pt x="16918" y="2400"/>
                  <a:pt x="16208" y="2400"/>
                </a:cubicBezTo>
                <a:cubicBezTo>
                  <a:pt x="15873" y="2400"/>
                  <a:pt x="15531" y="2473"/>
                  <a:pt x="15218" y="2647"/>
                </a:cubicBezTo>
                <a:cubicBezTo>
                  <a:pt x="15343" y="3035"/>
                  <a:pt x="15449" y="3420"/>
                  <a:pt x="15525" y="3799"/>
                </a:cubicBezTo>
                <a:cubicBezTo>
                  <a:pt x="15537" y="3790"/>
                  <a:pt x="15550" y="3779"/>
                  <a:pt x="15563" y="3770"/>
                </a:cubicBezTo>
                <a:cubicBezTo>
                  <a:pt x="15730" y="3657"/>
                  <a:pt x="15948" y="3600"/>
                  <a:pt x="16208" y="3600"/>
                </a:cubicBezTo>
                <a:cubicBezTo>
                  <a:pt x="16716" y="3600"/>
                  <a:pt x="17211" y="3825"/>
                  <a:pt x="17332" y="3919"/>
                </a:cubicBezTo>
                <a:cubicBezTo>
                  <a:pt x="17375" y="3953"/>
                  <a:pt x="17421" y="3983"/>
                  <a:pt x="17467" y="4008"/>
                </a:cubicBezTo>
                <a:cubicBezTo>
                  <a:pt x="17950" y="4265"/>
                  <a:pt x="18131" y="4362"/>
                  <a:pt x="18562" y="5641"/>
                </a:cubicBezTo>
                <a:cubicBezTo>
                  <a:pt x="18822" y="6387"/>
                  <a:pt x="18452" y="7378"/>
                  <a:pt x="18253" y="7911"/>
                </a:cubicBezTo>
                <a:cubicBezTo>
                  <a:pt x="18161" y="8156"/>
                  <a:pt x="18130" y="8457"/>
                  <a:pt x="18182" y="8718"/>
                </a:cubicBezTo>
                <a:cubicBezTo>
                  <a:pt x="18316" y="9392"/>
                  <a:pt x="18254" y="9706"/>
                  <a:pt x="18232" y="9784"/>
                </a:cubicBezTo>
                <a:cubicBezTo>
                  <a:pt x="18230" y="9788"/>
                  <a:pt x="18227" y="9793"/>
                  <a:pt x="18224" y="9798"/>
                </a:cubicBezTo>
                <a:lnTo>
                  <a:pt x="18191" y="9853"/>
                </a:lnTo>
                <a:cubicBezTo>
                  <a:pt x="17926" y="10290"/>
                  <a:pt x="17434" y="11106"/>
                  <a:pt x="17434" y="12954"/>
                </a:cubicBezTo>
                <a:cubicBezTo>
                  <a:pt x="17434" y="15019"/>
                  <a:pt x="18570" y="15933"/>
                  <a:pt x="19229" y="16155"/>
                </a:cubicBezTo>
                <a:cubicBezTo>
                  <a:pt x="19856" y="16429"/>
                  <a:pt x="20435" y="16859"/>
                  <a:pt x="20582" y="17999"/>
                </a:cubicBezTo>
                <a:lnTo>
                  <a:pt x="18459" y="18000"/>
                </a:lnTo>
                <a:cubicBezTo>
                  <a:pt x="18647" y="18353"/>
                  <a:pt x="18802" y="18755"/>
                  <a:pt x="18920" y="19200"/>
                </a:cubicBezTo>
                <a:lnTo>
                  <a:pt x="21109" y="19199"/>
                </a:lnTo>
                <a:cubicBezTo>
                  <a:pt x="21600" y="19199"/>
                  <a:pt x="21600" y="18599"/>
                  <a:pt x="21600" y="18599"/>
                </a:cubicBezTo>
                <a:cubicBezTo>
                  <a:pt x="21600" y="16199"/>
                  <a:pt x="20410" y="15388"/>
                  <a:pt x="19516" y="15006"/>
                </a:cubicBezTo>
                <a:moveTo>
                  <a:pt x="2371" y="16155"/>
                </a:moveTo>
                <a:cubicBezTo>
                  <a:pt x="3030" y="15933"/>
                  <a:pt x="4166" y="15019"/>
                  <a:pt x="4166" y="12954"/>
                </a:cubicBezTo>
                <a:cubicBezTo>
                  <a:pt x="4166" y="11106"/>
                  <a:pt x="3673" y="10290"/>
                  <a:pt x="3409" y="9853"/>
                </a:cubicBezTo>
                <a:lnTo>
                  <a:pt x="3376" y="9798"/>
                </a:lnTo>
                <a:cubicBezTo>
                  <a:pt x="3373" y="9793"/>
                  <a:pt x="3370" y="9788"/>
                  <a:pt x="3367" y="9784"/>
                </a:cubicBezTo>
                <a:cubicBezTo>
                  <a:pt x="3346" y="9706"/>
                  <a:pt x="3283" y="9392"/>
                  <a:pt x="3418" y="8718"/>
                </a:cubicBezTo>
                <a:cubicBezTo>
                  <a:pt x="3470" y="8457"/>
                  <a:pt x="3439" y="8156"/>
                  <a:pt x="3347" y="7911"/>
                </a:cubicBezTo>
                <a:cubicBezTo>
                  <a:pt x="3148" y="7378"/>
                  <a:pt x="2778" y="6387"/>
                  <a:pt x="3038" y="5641"/>
                </a:cubicBezTo>
                <a:cubicBezTo>
                  <a:pt x="3469" y="4362"/>
                  <a:pt x="3649" y="4265"/>
                  <a:pt x="4133" y="4008"/>
                </a:cubicBezTo>
                <a:cubicBezTo>
                  <a:pt x="4180" y="3983"/>
                  <a:pt x="4225" y="3953"/>
                  <a:pt x="4268" y="3919"/>
                </a:cubicBezTo>
                <a:cubicBezTo>
                  <a:pt x="4389" y="3825"/>
                  <a:pt x="4884" y="3600"/>
                  <a:pt x="5392" y="3600"/>
                </a:cubicBezTo>
                <a:cubicBezTo>
                  <a:pt x="5636" y="3600"/>
                  <a:pt x="5839" y="3655"/>
                  <a:pt x="6002" y="3755"/>
                </a:cubicBezTo>
                <a:cubicBezTo>
                  <a:pt x="6045" y="3548"/>
                  <a:pt x="6096" y="3341"/>
                  <a:pt x="6165" y="3134"/>
                </a:cubicBezTo>
                <a:cubicBezTo>
                  <a:pt x="6225" y="2950"/>
                  <a:pt x="6289" y="2793"/>
                  <a:pt x="6351" y="2630"/>
                </a:cubicBezTo>
                <a:cubicBezTo>
                  <a:pt x="6046" y="2468"/>
                  <a:pt x="5716" y="2400"/>
                  <a:pt x="5392" y="2400"/>
                </a:cubicBezTo>
                <a:cubicBezTo>
                  <a:pt x="4682" y="2400"/>
                  <a:pt x="4009" y="2699"/>
                  <a:pt x="3740" y="2908"/>
                </a:cubicBezTo>
                <a:cubicBezTo>
                  <a:pt x="2955" y="3327"/>
                  <a:pt x="2625" y="3714"/>
                  <a:pt x="2130" y="5184"/>
                </a:cubicBezTo>
                <a:cubicBezTo>
                  <a:pt x="1700" y="6419"/>
                  <a:pt x="2212" y="7760"/>
                  <a:pt x="2464" y="8435"/>
                </a:cubicBezTo>
                <a:cubicBezTo>
                  <a:pt x="2156" y="9975"/>
                  <a:pt x="2583" y="10506"/>
                  <a:pt x="2583" y="10506"/>
                </a:cubicBezTo>
                <a:cubicBezTo>
                  <a:pt x="2806" y="10879"/>
                  <a:pt x="3185" y="11419"/>
                  <a:pt x="3185" y="12954"/>
                </a:cubicBezTo>
                <a:cubicBezTo>
                  <a:pt x="3185" y="14701"/>
                  <a:pt x="2084" y="15006"/>
                  <a:pt x="2084" y="15006"/>
                </a:cubicBezTo>
                <a:cubicBezTo>
                  <a:pt x="1191" y="15388"/>
                  <a:pt x="0" y="16199"/>
                  <a:pt x="0" y="18599"/>
                </a:cubicBezTo>
                <a:cubicBezTo>
                  <a:pt x="0" y="18599"/>
                  <a:pt x="0" y="19199"/>
                  <a:pt x="491" y="19199"/>
                </a:cubicBezTo>
                <a:lnTo>
                  <a:pt x="2680" y="19200"/>
                </a:lnTo>
                <a:cubicBezTo>
                  <a:pt x="2798" y="18755"/>
                  <a:pt x="2952" y="18353"/>
                  <a:pt x="3141" y="18000"/>
                </a:cubicBezTo>
                <a:lnTo>
                  <a:pt x="1018" y="17999"/>
                </a:lnTo>
                <a:cubicBezTo>
                  <a:pt x="1165" y="16859"/>
                  <a:pt x="1744" y="16429"/>
                  <a:pt x="2371" y="16155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38090" tIns="38090" rIns="38090" bIns="38090" anchor="ctr"/>
          <a:lstStyle/>
          <a:p>
            <a:pPr defTabSz="457063"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sz="2999"/>
          </a:p>
        </p:txBody>
      </p:sp>
      <p:pic>
        <p:nvPicPr>
          <p:cNvPr id="2050" name="Picture 2" descr="C:\Program Files (x86)\Microsoft Office\MEDIA\CAGCAT10\j0233018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8899" y="2121528"/>
            <a:ext cx="2574202" cy="26149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24296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view</a:t>
            </a:r>
            <a:endParaRPr lang="sr-Latn-R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2100" dirty="0" smtClean="0"/>
              <a:t> 3. Complete </a:t>
            </a:r>
            <a:r>
              <a:rPr lang="en-US" sz="2100" dirty="0"/>
              <a:t>the questions and </a:t>
            </a:r>
            <a:r>
              <a:rPr lang="en-US" sz="2100" dirty="0" smtClean="0"/>
              <a:t>answers</a:t>
            </a:r>
          </a:p>
          <a:p>
            <a:pPr marL="0" indent="0">
              <a:buNone/>
            </a:pPr>
            <a:endParaRPr lang="en-US" sz="1800" dirty="0" smtClean="0"/>
          </a:p>
          <a:p>
            <a:r>
              <a:rPr lang="en-US" sz="1900" dirty="0" smtClean="0"/>
              <a:t>1. ____ they </a:t>
            </a:r>
            <a:r>
              <a:rPr lang="en-US" sz="1900" dirty="0"/>
              <a:t>Italian? Yes, they </a:t>
            </a:r>
            <a:r>
              <a:rPr lang="en-US" sz="1900" dirty="0" smtClean="0"/>
              <a:t>____.  They </a:t>
            </a:r>
            <a:r>
              <a:rPr lang="en-US" sz="1900" dirty="0"/>
              <a:t>____ </a:t>
            </a:r>
            <a:r>
              <a:rPr lang="en-US" sz="1900" dirty="0" smtClean="0"/>
              <a:t>Spanish</a:t>
            </a:r>
            <a:r>
              <a:rPr lang="en-US" sz="1900" dirty="0"/>
              <a:t>. </a:t>
            </a:r>
            <a:r>
              <a:rPr lang="en-US" sz="1900" dirty="0" smtClean="0"/>
              <a:t> </a:t>
            </a:r>
          </a:p>
          <a:p>
            <a:r>
              <a:rPr lang="en-US" sz="1900" dirty="0" smtClean="0"/>
              <a:t>2. ____  </a:t>
            </a:r>
            <a:r>
              <a:rPr lang="en-US" sz="1900" dirty="0"/>
              <a:t>you 14 years old? No, I ____ </a:t>
            </a:r>
            <a:r>
              <a:rPr lang="en-US" sz="1900" dirty="0" smtClean="0"/>
              <a:t>. </a:t>
            </a:r>
            <a:r>
              <a:rPr lang="en-US" sz="1900" dirty="0"/>
              <a:t>I ____ </a:t>
            </a:r>
            <a:r>
              <a:rPr lang="en-US" sz="1900" dirty="0" smtClean="0"/>
              <a:t>15 </a:t>
            </a:r>
            <a:r>
              <a:rPr lang="en-US" sz="1900" dirty="0"/>
              <a:t>years old. </a:t>
            </a:r>
            <a:r>
              <a:rPr lang="en-US" sz="1900" dirty="0" smtClean="0"/>
              <a:t> </a:t>
            </a:r>
          </a:p>
          <a:p>
            <a:r>
              <a:rPr lang="en-US" sz="1900" dirty="0" smtClean="0"/>
              <a:t>3.</a:t>
            </a:r>
            <a:r>
              <a:rPr lang="en-US" sz="1900" dirty="0"/>
              <a:t> ____ </a:t>
            </a:r>
            <a:r>
              <a:rPr lang="en-US" sz="1900" dirty="0" smtClean="0"/>
              <a:t>it </a:t>
            </a:r>
            <a:r>
              <a:rPr lang="en-US" sz="1900" dirty="0"/>
              <a:t>a pen? Yes, ____ </a:t>
            </a:r>
            <a:r>
              <a:rPr lang="en-US" sz="1900" dirty="0" smtClean="0"/>
              <a:t>it </a:t>
            </a:r>
            <a:r>
              <a:rPr lang="en-US" sz="1900" dirty="0"/>
              <a:t>. </a:t>
            </a:r>
            <a:endParaRPr lang="en-US" sz="1900" dirty="0" smtClean="0"/>
          </a:p>
          <a:p>
            <a:r>
              <a:rPr lang="en-US" sz="1900" dirty="0" smtClean="0"/>
              <a:t>4. </a:t>
            </a:r>
            <a:r>
              <a:rPr lang="en-US" sz="1900" dirty="0"/>
              <a:t>____</a:t>
            </a:r>
            <a:r>
              <a:rPr lang="en-US" sz="1900" dirty="0" smtClean="0"/>
              <a:t> </a:t>
            </a:r>
            <a:r>
              <a:rPr lang="en-US" sz="1900" dirty="0"/>
              <a:t>he from France? No, </a:t>
            </a:r>
            <a:r>
              <a:rPr lang="en-US" sz="1900" dirty="0" smtClean="0"/>
              <a:t>he</a:t>
            </a:r>
            <a:r>
              <a:rPr lang="en-US" sz="1900" dirty="0"/>
              <a:t> ____</a:t>
            </a:r>
            <a:r>
              <a:rPr lang="en-US" sz="1900" dirty="0" smtClean="0"/>
              <a:t> </a:t>
            </a:r>
            <a:r>
              <a:rPr lang="en-US" sz="1900" dirty="0"/>
              <a:t>. </a:t>
            </a:r>
            <a:r>
              <a:rPr lang="en-US" sz="1900" dirty="0" smtClean="0"/>
              <a:t>He</a:t>
            </a:r>
            <a:r>
              <a:rPr lang="en-US" sz="1900" dirty="0"/>
              <a:t> ____</a:t>
            </a:r>
            <a:r>
              <a:rPr lang="en-US" sz="1900" dirty="0" smtClean="0"/>
              <a:t> </a:t>
            </a:r>
            <a:r>
              <a:rPr lang="en-US" sz="1900" dirty="0"/>
              <a:t>French. </a:t>
            </a:r>
            <a:endParaRPr lang="en-US" sz="1900" dirty="0" smtClean="0"/>
          </a:p>
          <a:p>
            <a:r>
              <a:rPr lang="en-US" sz="1900" dirty="0" smtClean="0"/>
              <a:t>5.</a:t>
            </a:r>
            <a:r>
              <a:rPr lang="en-US" sz="1900" dirty="0"/>
              <a:t> ____</a:t>
            </a:r>
            <a:r>
              <a:rPr lang="en-US" sz="1900" dirty="0" smtClean="0"/>
              <a:t> </a:t>
            </a:r>
            <a:r>
              <a:rPr lang="en-US" sz="1900" dirty="0"/>
              <a:t>you sad? No, ____ </a:t>
            </a:r>
            <a:r>
              <a:rPr lang="en-US" sz="1900" dirty="0" smtClean="0"/>
              <a:t>we </a:t>
            </a:r>
            <a:r>
              <a:rPr lang="en-US" sz="1900" dirty="0"/>
              <a:t>. We ____ </a:t>
            </a:r>
            <a:r>
              <a:rPr lang="en-US" sz="1900" dirty="0" smtClean="0"/>
              <a:t>happy</a:t>
            </a:r>
            <a:r>
              <a:rPr lang="en-US" sz="1900" dirty="0"/>
              <a:t>. </a:t>
            </a:r>
            <a:endParaRPr lang="sr-Latn-RS" sz="19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2706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/>
          <p:cNvSpPr/>
          <p:nvPr/>
        </p:nvSpPr>
        <p:spPr>
          <a:xfrm>
            <a:off x="1933464" y="2708186"/>
            <a:ext cx="8325073" cy="807178"/>
          </a:xfrm>
          <a:prstGeom prst="rect">
            <a:avLst/>
          </a:prstGeom>
        </p:spPr>
        <p:txBody>
          <a:bodyPr wrap="none" anchor="ctr"/>
          <a:lstStyle/>
          <a:p>
            <a:pPr algn="ctr">
              <a:defRPr/>
            </a:pPr>
            <a:r>
              <a:rPr lang="en-US" sz="5400" b="1" noProof="1">
                <a:solidFill>
                  <a:schemeClr val="bg1"/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THANK YOU</a:t>
            </a:r>
          </a:p>
        </p:txBody>
      </p:sp>
      <p:grpSp>
        <p:nvGrpSpPr>
          <p:cNvPr id="28" name="Group 27"/>
          <p:cNvGrpSpPr/>
          <p:nvPr/>
        </p:nvGrpSpPr>
        <p:grpSpPr>
          <a:xfrm>
            <a:off x="4266865" y="4026250"/>
            <a:ext cx="3658270" cy="123564"/>
            <a:chOff x="2713456" y="2518210"/>
            <a:chExt cx="3658270" cy="914400"/>
          </a:xfrm>
        </p:grpSpPr>
        <p:sp>
          <p:nvSpPr>
            <p:cNvPr id="29" name="Rectangle 28"/>
            <p:cNvSpPr/>
            <p:nvPr/>
          </p:nvSpPr>
          <p:spPr>
            <a:xfrm>
              <a:off x="2713456" y="2518210"/>
              <a:ext cx="914400" cy="914400"/>
            </a:xfrm>
            <a:prstGeom prst="rect">
              <a:avLst/>
            </a:prstGeom>
            <a:solidFill>
              <a:schemeClr val="bg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>
            <a:xfrm>
              <a:off x="3628079" y="2518210"/>
              <a:ext cx="914400" cy="914400"/>
            </a:xfrm>
            <a:prstGeom prst="rect">
              <a:avLst/>
            </a:prstGeom>
            <a:solidFill>
              <a:schemeClr val="bg1"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>
            <a:xfrm>
              <a:off x="4542702" y="2518210"/>
              <a:ext cx="914400" cy="914400"/>
            </a:xfrm>
            <a:prstGeom prst="rect">
              <a:avLst/>
            </a:prstGeom>
            <a:solidFill>
              <a:schemeClr val="bg1">
                <a:alpha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>
            <a:xfrm>
              <a:off x="5457326" y="2518210"/>
              <a:ext cx="914400" cy="914400"/>
            </a:xfrm>
            <a:prstGeom prst="rect">
              <a:avLst/>
            </a:prstGeom>
            <a:solidFill>
              <a:schemeClr val="bg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6424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untries and Nationalities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pPr/>
              <a:t>3</a:t>
            </a:fld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02377321"/>
              </p:ext>
            </p:extLst>
          </p:nvPr>
        </p:nvGraphicFramePr>
        <p:xfrm>
          <a:off x="297792" y="1098040"/>
          <a:ext cx="5961118" cy="37892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80559"/>
                <a:gridCol w="2980559"/>
              </a:tblGrid>
              <a:tr h="421030">
                <a:tc>
                  <a:txBody>
                    <a:bodyPr/>
                    <a:lstStyle/>
                    <a:p>
                      <a:r>
                        <a:rPr lang="en-US" dirty="0" smtClean="0"/>
                        <a:t>Countries </a:t>
                      </a:r>
                      <a:r>
                        <a:rPr lang="sr-Latn-RS" dirty="0" smtClean="0"/>
                        <a:t> (zemlje)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ationalities</a:t>
                      </a:r>
                      <a:r>
                        <a:rPr lang="sr-Latn-RS" dirty="0" smtClean="0"/>
                        <a:t> (nacionalnosti)</a:t>
                      </a:r>
                      <a:endParaRPr lang="sr-Latn-RS" dirty="0"/>
                    </a:p>
                  </a:txBody>
                  <a:tcPr/>
                </a:tc>
              </a:tr>
              <a:tr h="421030">
                <a:tc>
                  <a:txBody>
                    <a:bodyPr/>
                    <a:lstStyle/>
                    <a:p>
                      <a:r>
                        <a:rPr lang="en-US" dirty="0" smtClean="0"/>
                        <a:t>Brazil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azilian</a:t>
                      </a:r>
                      <a:endParaRPr lang="sr-Latn-RS" dirty="0"/>
                    </a:p>
                  </a:txBody>
                  <a:tcPr/>
                </a:tc>
              </a:tr>
              <a:tr h="421030">
                <a:tc>
                  <a:txBody>
                    <a:bodyPr/>
                    <a:lstStyle/>
                    <a:p>
                      <a:r>
                        <a:rPr lang="en-US" dirty="0" smtClean="0"/>
                        <a:t>Australia 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ustralian</a:t>
                      </a:r>
                      <a:endParaRPr lang="sr-Latn-RS" dirty="0"/>
                    </a:p>
                  </a:txBody>
                  <a:tcPr/>
                </a:tc>
              </a:tr>
              <a:tr h="421030">
                <a:tc>
                  <a:txBody>
                    <a:bodyPr/>
                    <a:lstStyle/>
                    <a:p>
                      <a:r>
                        <a:rPr lang="en-US" dirty="0" smtClean="0"/>
                        <a:t>Argentina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rgentinian</a:t>
                      </a:r>
                      <a:endParaRPr lang="sr-Latn-RS" dirty="0"/>
                    </a:p>
                  </a:txBody>
                  <a:tcPr/>
                </a:tc>
              </a:tr>
              <a:tr h="421030">
                <a:tc>
                  <a:txBody>
                    <a:bodyPr/>
                    <a:lstStyle/>
                    <a:p>
                      <a:r>
                        <a:rPr lang="en-US" dirty="0" smtClean="0"/>
                        <a:t>The</a:t>
                      </a:r>
                      <a:r>
                        <a:rPr lang="en-US" baseline="0" dirty="0" smtClean="0"/>
                        <a:t> USA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American</a:t>
                      </a:r>
                      <a:endParaRPr lang="sr-Latn-RS" dirty="0"/>
                    </a:p>
                  </a:txBody>
                  <a:tcPr/>
                </a:tc>
              </a:tr>
              <a:tr h="421030">
                <a:tc>
                  <a:txBody>
                    <a:bodyPr/>
                    <a:lstStyle/>
                    <a:p>
                      <a:r>
                        <a:rPr lang="en-US" dirty="0" smtClean="0"/>
                        <a:t>Germany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German</a:t>
                      </a:r>
                      <a:endParaRPr lang="sr-Latn-RS" dirty="0"/>
                    </a:p>
                  </a:txBody>
                  <a:tcPr/>
                </a:tc>
              </a:tr>
              <a:tr h="421030">
                <a:tc>
                  <a:txBody>
                    <a:bodyPr/>
                    <a:lstStyle/>
                    <a:p>
                      <a:r>
                        <a:rPr lang="en-US" dirty="0" smtClean="0"/>
                        <a:t>Italy</a:t>
                      </a:r>
                      <a:r>
                        <a:rPr lang="en-US" baseline="0" dirty="0" smtClean="0"/>
                        <a:t> 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talian</a:t>
                      </a:r>
                      <a:endParaRPr lang="sr-Latn-RS" dirty="0"/>
                    </a:p>
                  </a:txBody>
                  <a:tcPr/>
                </a:tc>
              </a:tr>
              <a:tr h="421030">
                <a:tc>
                  <a:txBody>
                    <a:bodyPr/>
                    <a:lstStyle/>
                    <a:p>
                      <a:r>
                        <a:rPr lang="en-US" dirty="0" smtClean="0"/>
                        <a:t>Mexico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exican</a:t>
                      </a:r>
                      <a:endParaRPr lang="sr-Latn-RS" dirty="0"/>
                    </a:p>
                  </a:txBody>
                  <a:tcPr/>
                </a:tc>
              </a:tr>
              <a:tr h="421030">
                <a:tc>
                  <a:txBody>
                    <a:bodyPr/>
                    <a:lstStyle/>
                    <a:p>
                      <a:r>
                        <a:rPr lang="en-US" dirty="0" smtClean="0"/>
                        <a:t>Russia 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Russian</a:t>
                      </a:r>
                      <a:endParaRPr lang="sr-Latn-RS" dirty="0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21" name="Table 2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2517203"/>
              </p:ext>
            </p:extLst>
          </p:nvPr>
        </p:nvGraphicFramePr>
        <p:xfrm>
          <a:off x="6745889" y="1129568"/>
          <a:ext cx="5157075" cy="39469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1178"/>
                <a:gridCol w="2545897"/>
              </a:tblGrid>
              <a:tr h="375898">
                <a:tc>
                  <a:txBody>
                    <a:bodyPr/>
                    <a:lstStyle/>
                    <a:p>
                      <a:r>
                        <a:rPr lang="en-US" dirty="0" smtClean="0"/>
                        <a:t>Countries 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Nationalities</a:t>
                      </a:r>
                      <a:endParaRPr lang="sr-Latn-RS" dirty="0"/>
                    </a:p>
                  </a:txBody>
                  <a:tcPr/>
                </a:tc>
              </a:tr>
              <a:tr h="375898">
                <a:tc>
                  <a:txBody>
                    <a:bodyPr/>
                    <a:lstStyle/>
                    <a:p>
                      <a:r>
                        <a:rPr lang="en-US" dirty="0" smtClean="0"/>
                        <a:t>the</a:t>
                      </a:r>
                      <a:r>
                        <a:rPr lang="en-US" baseline="0" dirty="0" smtClean="0"/>
                        <a:t> UK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British</a:t>
                      </a:r>
                      <a:endParaRPr lang="sr-Latn-RS" dirty="0"/>
                    </a:p>
                  </a:txBody>
                  <a:tcPr/>
                </a:tc>
              </a:tr>
              <a:tr h="375898">
                <a:tc>
                  <a:txBody>
                    <a:bodyPr/>
                    <a:lstStyle/>
                    <a:p>
                      <a:r>
                        <a:rPr lang="en-US" dirty="0" smtClean="0"/>
                        <a:t>Spain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panish</a:t>
                      </a:r>
                      <a:endParaRPr lang="sr-Latn-RS" dirty="0"/>
                    </a:p>
                  </a:txBody>
                  <a:tcPr/>
                </a:tc>
              </a:tr>
              <a:tr h="375898">
                <a:tc>
                  <a:txBody>
                    <a:bodyPr/>
                    <a:lstStyle/>
                    <a:p>
                      <a:r>
                        <a:rPr lang="en-US" dirty="0" smtClean="0"/>
                        <a:t>Poland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Polish</a:t>
                      </a:r>
                      <a:endParaRPr lang="sr-Latn-RS" dirty="0"/>
                    </a:p>
                  </a:txBody>
                  <a:tcPr/>
                </a:tc>
              </a:tr>
              <a:tr h="657821">
                <a:tc>
                  <a:txBody>
                    <a:bodyPr/>
                    <a:lstStyle/>
                    <a:p>
                      <a:r>
                        <a:rPr lang="en-US" dirty="0" smtClean="0"/>
                        <a:t>Turkey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urkish</a:t>
                      </a:r>
                    </a:p>
                    <a:p>
                      <a:endParaRPr lang="sr-Latn-RS" dirty="0"/>
                    </a:p>
                  </a:txBody>
                  <a:tcPr/>
                </a:tc>
              </a:tr>
              <a:tr h="375898">
                <a:tc>
                  <a:txBody>
                    <a:bodyPr/>
                    <a:lstStyle/>
                    <a:p>
                      <a:r>
                        <a:rPr lang="en-US" dirty="0" smtClean="0"/>
                        <a:t>China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Chinese</a:t>
                      </a:r>
                      <a:endParaRPr lang="sr-Latn-RS" dirty="0"/>
                    </a:p>
                  </a:txBody>
                  <a:tcPr/>
                </a:tc>
              </a:tr>
              <a:tr h="657821">
                <a:tc>
                  <a:txBody>
                    <a:bodyPr/>
                    <a:lstStyle/>
                    <a:p>
                      <a:r>
                        <a:rPr lang="en-US" dirty="0" smtClean="0"/>
                        <a:t>Japan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Japanese</a:t>
                      </a:r>
                    </a:p>
                    <a:p>
                      <a:endParaRPr lang="sr-Latn-RS" dirty="0"/>
                    </a:p>
                  </a:txBody>
                  <a:tcPr/>
                </a:tc>
              </a:tr>
              <a:tr h="375898">
                <a:tc>
                  <a:txBody>
                    <a:bodyPr/>
                    <a:lstStyle/>
                    <a:p>
                      <a:r>
                        <a:rPr lang="en-US" dirty="0" smtClean="0"/>
                        <a:t>France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French</a:t>
                      </a:r>
                      <a:endParaRPr lang="sr-Latn-RS" dirty="0"/>
                    </a:p>
                  </a:txBody>
                  <a:tcPr/>
                </a:tc>
              </a:tr>
              <a:tr h="375898">
                <a:tc>
                  <a:txBody>
                    <a:bodyPr/>
                    <a:lstStyle/>
                    <a:p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r-Latn-R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315309" y="5249917"/>
            <a:ext cx="670034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/>
              <a:t>T</a:t>
            </a:r>
            <a:r>
              <a:rPr lang="sr-Latn-RS" dirty="0" smtClean="0"/>
              <a:t>he Usa is often called US, the States or America.</a:t>
            </a:r>
          </a:p>
          <a:p>
            <a:r>
              <a:rPr lang="sr-Latn-RS" dirty="0" smtClean="0"/>
              <a:t>The Uk refers to England, Scotland, Wales and Northen Ireland.</a:t>
            </a:r>
          </a:p>
          <a:p>
            <a:r>
              <a:rPr lang="sr-Latn-RS" dirty="0" smtClean="0"/>
              <a:t>Great Britain refers to England, Scotland and Wales only.</a:t>
            </a:r>
          </a:p>
          <a:p>
            <a:endParaRPr lang="sr-Latn-RS" dirty="0"/>
          </a:p>
        </p:txBody>
      </p:sp>
    </p:spTree>
    <p:extLst>
      <p:ext uri="{BB962C8B-B14F-4D97-AF65-F5344CB8AC3E}">
        <p14:creationId xmlns:p14="http://schemas.microsoft.com/office/powerpoint/2010/main" val="2418937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sr-Latn-RS" sz="3600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To be (biti)</a:t>
            </a:r>
            <a:endParaRPr lang="en-US" sz="36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64" name="Oval 63"/>
          <p:cNvSpPr/>
          <p:nvPr/>
        </p:nvSpPr>
        <p:spPr>
          <a:xfrm>
            <a:off x="2659370" y="2008258"/>
            <a:ext cx="1730634" cy="1730634"/>
          </a:xfrm>
          <a:prstGeom prst="ellipse">
            <a:avLst/>
          </a:prstGeom>
          <a:solidFill>
            <a:schemeClr val="accent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5" name="Oval 64"/>
          <p:cNvSpPr/>
          <p:nvPr/>
        </p:nvSpPr>
        <p:spPr>
          <a:xfrm>
            <a:off x="4188476" y="2008258"/>
            <a:ext cx="1730634" cy="1730634"/>
          </a:xfrm>
          <a:prstGeom prst="ellipse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6" name="Oval 65"/>
          <p:cNvSpPr/>
          <p:nvPr/>
        </p:nvSpPr>
        <p:spPr>
          <a:xfrm>
            <a:off x="7262653" y="2008258"/>
            <a:ext cx="1730634" cy="1730634"/>
          </a:xfrm>
          <a:prstGeom prst="ellipse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4" name="Straight Connector 73"/>
          <p:cNvCxnSpPr/>
          <p:nvPr/>
        </p:nvCxnSpPr>
        <p:spPr>
          <a:xfrm>
            <a:off x="83388" y="2919976"/>
            <a:ext cx="2469493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9013314" y="2919976"/>
            <a:ext cx="304800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19" name="Oval 18"/>
          <p:cNvSpPr/>
          <p:nvPr/>
        </p:nvSpPr>
        <p:spPr>
          <a:xfrm>
            <a:off x="5725020" y="2008258"/>
            <a:ext cx="1730634" cy="1730634"/>
          </a:xfrm>
          <a:prstGeom prst="ellipse">
            <a:avLst/>
          </a:prstGeom>
          <a:solidFill>
            <a:srgbClr val="FF1981">
              <a:alpha val="4980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7" name="Straight Connector 26"/>
          <p:cNvCxnSpPr/>
          <p:nvPr/>
        </p:nvCxnSpPr>
        <p:spPr>
          <a:xfrm>
            <a:off x="6606577" y="3777670"/>
            <a:ext cx="0" cy="1756027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2948153" y="2656229"/>
            <a:ext cx="11508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Latn-RS" dirty="0" smtClean="0"/>
              <a:t>I am</a:t>
            </a:r>
            <a:endParaRPr lang="sr-Latn-RS" dirty="0"/>
          </a:p>
        </p:txBody>
      </p:sp>
      <p:sp>
        <p:nvSpPr>
          <p:cNvPr id="33" name="TextBox 32"/>
          <p:cNvSpPr txBox="1"/>
          <p:nvPr/>
        </p:nvSpPr>
        <p:spPr>
          <a:xfrm>
            <a:off x="4478350" y="2652040"/>
            <a:ext cx="115088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Latn-RS" dirty="0" smtClean="0"/>
              <a:t>You are</a:t>
            </a:r>
            <a:endParaRPr lang="sr-Latn-RS" dirty="0"/>
          </a:p>
        </p:txBody>
      </p:sp>
      <p:sp>
        <p:nvSpPr>
          <p:cNvPr id="34" name="TextBox 33"/>
          <p:cNvSpPr txBox="1"/>
          <p:nvPr/>
        </p:nvSpPr>
        <p:spPr>
          <a:xfrm>
            <a:off x="6046901" y="2458997"/>
            <a:ext cx="115088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Latn-RS" dirty="0" smtClean="0"/>
              <a:t>He</a:t>
            </a:r>
          </a:p>
          <a:p>
            <a:pPr algn="ctr"/>
            <a:r>
              <a:rPr lang="sr-Latn-RS" dirty="0" smtClean="0"/>
              <a:t>      She   is</a:t>
            </a:r>
          </a:p>
          <a:p>
            <a:pPr algn="ctr"/>
            <a:r>
              <a:rPr lang="sr-Latn-RS" dirty="0" smtClean="0"/>
              <a:t>It </a:t>
            </a:r>
            <a:endParaRPr lang="sr-Latn-RS" dirty="0"/>
          </a:p>
        </p:txBody>
      </p:sp>
      <p:sp>
        <p:nvSpPr>
          <p:cNvPr id="35" name="TextBox 34"/>
          <p:cNvSpPr txBox="1"/>
          <p:nvPr/>
        </p:nvSpPr>
        <p:spPr>
          <a:xfrm>
            <a:off x="7552528" y="2411910"/>
            <a:ext cx="127616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r-Latn-RS" dirty="0" smtClean="0"/>
              <a:t>We </a:t>
            </a:r>
          </a:p>
          <a:p>
            <a:pPr algn="ctr"/>
            <a:r>
              <a:rPr lang="sr-Latn-RS" dirty="0" smtClean="0"/>
              <a:t>     </a:t>
            </a:r>
            <a:r>
              <a:rPr lang="en-US" dirty="0" smtClean="0"/>
              <a:t> </a:t>
            </a:r>
            <a:r>
              <a:rPr lang="sr-Latn-RS" dirty="0" smtClean="0"/>
              <a:t>You  are</a:t>
            </a:r>
          </a:p>
          <a:p>
            <a:pPr algn="ctr"/>
            <a:r>
              <a:rPr lang="sr-Latn-RS" dirty="0" smtClean="0"/>
              <a:t>They</a:t>
            </a:r>
            <a:endParaRPr lang="sr-Latn-RS" dirty="0"/>
          </a:p>
        </p:txBody>
      </p:sp>
      <p:sp>
        <p:nvSpPr>
          <p:cNvPr id="5" name="TextBox 4"/>
          <p:cNvSpPr txBox="1"/>
          <p:nvPr/>
        </p:nvSpPr>
        <p:spPr>
          <a:xfrm>
            <a:off x="1166650" y="4418810"/>
            <a:ext cx="422515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 smtClean="0"/>
              <a:t>Glagol biti (to be)  se koristi i kao glavni glagol, ali i kao pomoćni glagol pri građenju složenih vremena.</a:t>
            </a:r>
            <a:endParaRPr lang="sr-Latn-RS" dirty="0"/>
          </a:p>
        </p:txBody>
      </p:sp>
      <p:sp>
        <p:nvSpPr>
          <p:cNvPr id="6" name="TextBox 5"/>
          <p:cNvSpPr txBox="1"/>
          <p:nvPr/>
        </p:nvSpPr>
        <p:spPr>
          <a:xfrm>
            <a:off x="7062952" y="4418810"/>
            <a:ext cx="512904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r-Latn-RS" dirty="0" smtClean="0"/>
              <a:t>David</a:t>
            </a:r>
            <a:r>
              <a:rPr lang="en-US" dirty="0" smtClean="0"/>
              <a:t>: Where </a:t>
            </a:r>
            <a:r>
              <a:rPr lang="en-US" b="1" dirty="0" smtClean="0"/>
              <a:t>are</a:t>
            </a:r>
            <a:r>
              <a:rPr lang="en-US" dirty="0" smtClean="0"/>
              <a:t> they from?</a:t>
            </a:r>
          </a:p>
          <a:p>
            <a:r>
              <a:rPr lang="en-US" dirty="0" smtClean="0"/>
              <a:t>Molly: They </a:t>
            </a:r>
            <a:r>
              <a:rPr lang="en-US" b="1" dirty="0" smtClean="0"/>
              <a:t>are</a:t>
            </a:r>
            <a:r>
              <a:rPr lang="en-US" dirty="0" smtClean="0"/>
              <a:t> from Germany.</a:t>
            </a:r>
          </a:p>
          <a:p>
            <a:r>
              <a:rPr lang="en-US" dirty="0" smtClean="0"/>
              <a:t>David: What </a:t>
            </a:r>
            <a:r>
              <a:rPr lang="en-US" b="1" dirty="0" smtClean="0"/>
              <a:t>are</a:t>
            </a:r>
            <a:r>
              <a:rPr lang="en-US" dirty="0" smtClean="0"/>
              <a:t> </a:t>
            </a:r>
            <a:r>
              <a:rPr lang="en-US" i="1" dirty="0" smtClean="0"/>
              <a:t>their</a:t>
            </a:r>
            <a:r>
              <a:rPr lang="en-US" dirty="0" smtClean="0"/>
              <a:t> names?</a:t>
            </a:r>
            <a:br>
              <a:rPr lang="en-US" dirty="0" smtClean="0"/>
            </a:br>
            <a:r>
              <a:rPr lang="en-US" dirty="0" smtClean="0"/>
              <a:t>Molly: </a:t>
            </a:r>
            <a:r>
              <a:rPr lang="en-US" i="1" dirty="0" smtClean="0"/>
              <a:t>His</a:t>
            </a:r>
            <a:r>
              <a:rPr lang="en-US" dirty="0" smtClean="0"/>
              <a:t> name </a:t>
            </a:r>
            <a:r>
              <a:rPr lang="en-US" b="1" dirty="0" smtClean="0"/>
              <a:t>is</a:t>
            </a:r>
            <a:r>
              <a:rPr lang="en-US" dirty="0" smtClean="0"/>
              <a:t> Tomas, and </a:t>
            </a:r>
            <a:r>
              <a:rPr lang="en-US" i="1" dirty="0" smtClean="0"/>
              <a:t>her</a:t>
            </a:r>
            <a:r>
              <a:rPr lang="en-US" dirty="0" smtClean="0"/>
              <a:t> name </a:t>
            </a:r>
            <a:r>
              <a:rPr lang="en-US" b="1" dirty="0" smtClean="0"/>
              <a:t>is</a:t>
            </a:r>
            <a:r>
              <a:rPr lang="en-US" dirty="0" smtClean="0"/>
              <a:t> </a:t>
            </a:r>
            <a:r>
              <a:rPr lang="en-US" dirty="0" err="1" smtClean="0"/>
              <a:t>Verena</a:t>
            </a:r>
            <a:r>
              <a:rPr lang="en-US" dirty="0" smtClean="0"/>
              <a:t>.</a:t>
            </a:r>
            <a:endParaRPr lang="sr-Latn-RS" dirty="0"/>
          </a:p>
        </p:txBody>
      </p:sp>
    </p:spTree>
    <p:extLst>
      <p:ext uri="{BB962C8B-B14F-4D97-AF65-F5344CB8AC3E}">
        <p14:creationId xmlns:p14="http://schemas.microsoft.com/office/powerpoint/2010/main" val="3596992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t>Subject pronouns and possessive adjectives</a:t>
            </a:r>
            <a:endParaRPr lang="en-US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3074" name="Picture 2" descr="C:\Program Files (x86)\Microsoft Office\MEDIA\CAGCAT10\j0195384.wm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652" y="1471790"/>
            <a:ext cx="1795882" cy="18333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3153103" y="1565306"/>
            <a:ext cx="23648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is is </a:t>
            </a:r>
            <a:r>
              <a:rPr lang="en-US" b="1" dirty="0" smtClean="0"/>
              <a:t>her</a:t>
            </a:r>
            <a:r>
              <a:rPr lang="en-US" dirty="0" smtClean="0"/>
              <a:t> computer.</a:t>
            </a:r>
          </a:p>
          <a:p>
            <a:r>
              <a:rPr lang="en-US" dirty="0" err="1" smtClean="0"/>
              <a:t>Ovo</a:t>
            </a:r>
            <a:r>
              <a:rPr lang="en-US" dirty="0" smtClean="0"/>
              <a:t> je </a:t>
            </a:r>
            <a:r>
              <a:rPr lang="en-US" b="1" dirty="0" err="1" smtClean="0"/>
              <a:t>njen</a:t>
            </a:r>
            <a:r>
              <a:rPr lang="en-US" dirty="0" smtClean="0"/>
              <a:t> </a:t>
            </a:r>
            <a:r>
              <a:rPr lang="en-US" dirty="0" err="1" smtClean="0"/>
              <a:t>kompjuter</a:t>
            </a:r>
            <a:r>
              <a:rPr lang="en-US" dirty="0" smtClean="0"/>
              <a:t>.</a:t>
            </a:r>
            <a:endParaRPr lang="sr-Latn-RS" dirty="0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5547703"/>
              </p:ext>
            </p:extLst>
          </p:nvPr>
        </p:nvGraphicFramePr>
        <p:xfrm>
          <a:off x="2315780" y="3541644"/>
          <a:ext cx="8128000" cy="12801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7320"/>
                <a:gridCol w="208280"/>
                <a:gridCol w="812800"/>
                <a:gridCol w="812800"/>
                <a:gridCol w="812800"/>
                <a:gridCol w="812800"/>
                <a:gridCol w="812800"/>
                <a:gridCol w="812800"/>
                <a:gridCol w="812800"/>
                <a:gridCol w="812800"/>
              </a:tblGrid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SUBJECT PRONOUNS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You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He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She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t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We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You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hey</a:t>
                      </a:r>
                      <a:endParaRPr lang="sr-Latn-RS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dirty="0" smtClean="0"/>
                        <a:t>POSSESSIVE</a:t>
                      </a:r>
                      <a:r>
                        <a:rPr lang="en-US" baseline="0" dirty="0" smtClean="0"/>
                        <a:t> ADJECTIVES 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sr-Latn-R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My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Your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Her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Her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Its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Our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Your</a:t>
                      </a:r>
                      <a:endParaRPr lang="sr-Latn-R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 smtClean="0"/>
                        <a:t>Their</a:t>
                      </a:r>
                      <a:endParaRPr lang="sr-Latn-RS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720650" y="5186855"/>
            <a:ext cx="990530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We use subject pronouns with verbs: I’m from France. They’re both from Germany, etc.</a:t>
            </a:r>
          </a:p>
          <a:p>
            <a:r>
              <a:rPr lang="en-US" dirty="0" smtClean="0"/>
              <a:t>We use possessive adjectives with nouns : my name, his book, etc. </a:t>
            </a:r>
          </a:p>
          <a:p>
            <a:endParaRPr lang="en-US" dirty="0" smtClean="0"/>
          </a:p>
          <a:p>
            <a:r>
              <a:rPr lang="en-US" dirty="0" smtClean="0"/>
              <a:t>We always use a capital I for the subject pronoun.</a:t>
            </a:r>
          </a:p>
          <a:p>
            <a:endParaRPr lang="en-US" dirty="0"/>
          </a:p>
        </p:txBody>
      </p:sp>
      <p:pic>
        <p:nvPicPr>
          <p:cNvPr id="3078" name="Picture 6" descr="C:\Program Files (x86)\Microsoft Office\MEDIA\CAGCAT10\j0297551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1217" y="1429868"/>
            <a:ext cx="1195121" cy="1823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8371490" y="1538295"/>
            <a:ext cx="27589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This is </a:t>
            </a:r>
            <a:r>
              <a:rPr lang="en-US" b="1" dirty="0" smtClean="0"/>
              <a:t>their</a:t>
            </a:r>
            <a:r>
              <a:rPr lang="en-US" dirty="0" smtClean="0"/>
              <a:t> teacher.</a:t>
            </a:r>
          </a:p>
          <a:p>
            <a:r>
              <a:rPr lang="en-US" dirty="0" err="1" smtClean="0"/>
              <a:t>Ovo</a:t>
            </a:r>
            <a:r>
              <a:rPr lang="en-US" dirty="0" smtClean="0"/>
              <a:t> je </a:t>
            </a:r>
            <a:r>
              <a:rPr lang="en-US" b="1" dirty="0" err="1" smtClean="0"/>
              <a:t>nji</a:t>
            </a:r>
            <a:r>
              <a:rPr lang="sr-Latn-RS" b="1" dirty="0" smtClean="0"/>
              <a:t>h</a:t>
            </a:r>
            <a:r>
              <a:rPr lang="en-US" b="1" dirty="0" smtClean="0"/>
              <a:t>ova</a:t>
            </a:r>
            <a:r>
              <a:rPr lang="en-US" dirty="0" smtClean="0"/>
              <a:t> u</a:t>
            </a:r>
            <a:r>
              <a:rPr lang="sr-Latn-RS" dirty="0" smtClean="0"/>
              <a:t>čiteljica.</a:t>
            </a:r>
            <a:endParaRPr lang="sr-Latn-RS" dirty="0"/>
          </a:p>
        </p:txBody>
      </p:sp>
    </p:spTree>
    <p:extLst>
      <p:ext uri="{BB962C8B-B14F-4D97-AF65-F5344CB8AC3E}">
        <p14:creationId xmlns:p14="http://schemas.microsoft.com/office/powerpoint/2010/main" val="3461909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4"/>
          <p:cNvSpPr/>
          <p:nvPr/>
        </p:nvSpPr>
        <p:spPr>
          <a:xfrm>
            <a:off x="3952527" y="2918806"/>
            <a:ext cx="4108632" cy="1563040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r-Latn-RS" dirty="0" smtClean="0"/>
              <a:t>1B In the coffee break</a:t>
            </a:r>
            <a:endParaRPr lang="en-US" dirty="0"/>
          </a:p>
        </p:txBody>
      </p:sp>
      <p:sp>
        <p:nvSpPr>
          <p:cNvPr id="131" name="Content Placeholder 2"/>
          <p:cNvSpPr txBox="1">
            <a:spLocks/>
          </p:cNvSpPr>
          <p:nvPr/>
        </p:nvSpPr>
        <p:spPr>
          <a:xfrm>
            <a:off x="1058038" y="3169610"/>
            <a:ext cx="1910143" cy="405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r"/>
            <a:r>
              <a:rPr lang="en-US" sz="1800" b="0" dirty="0" smtClean="0">
                <a:latin typeface="Bebas Neue" panose="020B0606020202050201" pitchFamily="34" charset="0"/>
              </a:rPr>
              <a:t>What’s your mobile number?</a:t>
            </a:r>
            <a:endParaRPr lang="en-US" sz="1800" b="0" dirty="0">
              <a:latin typeface="Bebas Neue" panose="020B0606020202050201" pitchFamily="34" charset="0"/>
            </a:endParaRPr>
          </a:p>
        </p:txBody>
      </p:sp>
      <p:sp>
        <p:nvSpPr>
          <p:cNvPr id="49" name="Rectangle 48"/>
          <p:cNvSpPr/>
          <p:nvPr/>
        </p:nvSpPr>
        <p:spPr>
          <a:xfrm>
            <a:off x="9496542" y="3433844"/>
            <a:ext cx="251241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buClr>
                <a:srgbClr val="E24848"/>
              </a:buClr>
            </a:pPr>
            <a:r>
              <a:rPr lang="en-US" sz="16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I’m an engineer.</a:t>
            </a:r>
            <a:endParaRPr lang="en-US" sz="16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52" name="Rectangle 51"/>
          <p:cNvSpPr/>
          <p:nvPr/>
        </p:nvSpPr>
        <p:spPr>
          <a:xfrm>
            <a:off x="7810625" y="1909832"/>
            <a:ext cx="251241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E24848"/>
              </a:buClr>
            </a:pPr>
            <a:r>
              <a:rPr lang="en-US" sz="16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He is an actor</a:t>
            </a:r>
            <a:endParaRPr lang="en-US" sz="16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65" name="Content Placeholder 2"/>
          <p:cNvSpPr txBox="1">
            <a:spLocks/>
          </p:cNvSpPr>
          <p:nvPr/>
        </p:nvSpPr>
        <p:spPr>
          <a:xfrm>
            <a:off x="9223819" y="3169610"/>
            <a:ext cx="1910143" cy="405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sz="1800" b="0" dirty="0" smtClean="0">
                <a:latin typeface="Bebas Neue" panose="020B0606020202050201" pitchFamily="34" charset="0"/>
              </a:rPr>
              <a:t>What do you do?</a:t>
            </a:r>
            <a:endParaRPr lang="en-US" sz="1800" b="0" dirty="0">
              <a:latin typeface="Bebas Neue" panose="020B0606020202050201" pitchFamily="34" charset="0"/>
            </a:endParaRPr>
          </a:p>
        </p:txBody>
      </p:sp>
      <p:sp>
        <p:nvSpPr>
          <p:cNvPr id="69" name="Content Placeholder 2"/>
          <p:cNvSpPr txBox="1">
            <a:spLocks/>
          </p:cNvSpPr>
          <p:nvPr/>
        </p:nvSpPr>
        <p:spPr>
          <a:xfrm>
            <a:off x="7586399" y="1555807"/>
            <a:ext cx="1910143" cy="405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sz="1800" b="0" dirty="0" smtClean="0">
                <a:latin typeface="Bebas Neue" panose="020B0606020202050201" pitchFamily="34" charset="0"/>
              </a:rPr>
              <a:t>What’s his job?</a:t>
            </a:r>
            <a:endParaRPr lang="en-US" sz="1800" b="0" dirty="0">
              <a:latin typeface="Bebas Neue" panose="020B0606020202050201" pitchFamily="34" charset="0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78" name="Group 77"/>
          <p:cNvGrpSpPr/>
          <p:nvPr/>
        </p:nvGrpSpPr>
        <p:grpSpPr>
          <a:xfrm>
            <a:off x="4584866" y="1088941"/>
            <a:ext cx="2895268" cy="3222700"/>
            <a:chOff x="8816295" y="2233958"/>
            <a:chExt cx="2612590" cy="2908056"/>
          </a:xfrm>
        </p:grpSpPr>
        <p:grpSp>
          <p:nvGrpSpPr>
            <p:cNvPr id="79" name="Group 78"/>
            <p:cNvGrpSpPr/>
            <p:nvPr/>
          </p:nvGrpSpPr>
          <p:grpSpPr>
            <a:xfrm>
              <a:off x="8816295" y="2865532"/>
              <a:ext cx="2612590" cy="2276482"/>
              <a:chOff x="3847338" y="2612537"/>
              <a:chExt cx="2098688" cy="1828693"/>
            </a:xfrm>
          </p:grpSpPr>
          <p:sp>
            <p:nvSpPr>
              <p:cNvPr id="81" name="Freeform 80"/>
              <p:cNvSpPr/>
              <p:nvPr/>
            </p:nvSpPr>
            <p:spPr bwMode="auto">
              <a:xfrm>
                <a:off x="4290829" y="3264760"/>
                <a:ext cx="1211757" cy="1145182"/>
              </a:xfrm>
              <a:custGeom>
                <a:avLst/>
                <a:gdLst>
                  <a:gd name="connsiteX0" fmla="*/ 0 w 2370667"/>
                  <a:gd name="connsiteY0" fmla="*/ 423333 h 2525889"/>
                  <a:gd name="connsiteX1" fmla="*/ 1270000 w 2370667"/>
                  <a:gd name="connsiteY1" fmla="*/ 0 h 2525889"/>
                  <a:gd name="connsiteX2" fmla="*/ 2370667 w 2370667"/>
                  <a:gd name="connsiteY2" fmla="*/ 592667 h 2525889"/>
                  <a:gd name="connsiteX3" fmla="*/ 2370667 w 2370667"/>
                  <a:gd name="connsiteY3" fmla="*/ 1919111 h 2525889"/>
                  <a:gd name="connsiteX4" fmla="*/ 1114778 w 2370667"/>
                  <a:gd name="connsiteY4" fmla="*/ 2525889 h 2525889"/>
                  <a:gd name="connsiteX5" fmla="*/ 14111 w 2370667"/>
                  <a:gd name="connsiteY5" fmla="*/ 1763889 h 2525889"/>
                  <a:gd name="connsiteX6" fmla="*/ 0 w 2370667"/>
                  <a:gd name="connsiteY6" fmla="*/ 423333 h 2525889"/>
                  <a:gd name="connsiteX0" fmla="*/ 0 w 2370667"/>
                  <a:gd name="connsiteY0" fmla="*/ 423333 h 2525889"/>
                  <a:gd name="connsiteX1" fmla="*/ 1270000 w 2370667"/>
                  <a:gd name="connsiteY1" fmla="*/ 0 h 2525889"/>
                  <a:gd name="connsiteX2" fmla="*/ 2370667 w 2370667"/>
                  <a:gd name="connsiteY2" fmla="*/ 592667 h 2525889"/>
                  <a:gd name="connsiteX3" fmla="*/ 2370667 w 2370667"/>
                  <a:gd name="connsiteY3" fmla="*/ 1919111 h 2525889"/>
                  <a:gd name="connsiteX4" fmla="*/ 1114778 w 2370667"/>
                  <a:gd name="connsiteY4" fmla="*/ 2525889 h 2525889"/>
                  <a:gd name="connsiteX5" fmla="*/ 127000 w 2370667"/>
                  <a:gd name="connsiteY5" fmla="*/ 1763889 h 2525889"/>
                  <a:gd name="connsiteX6" fmla="*/ 0 w 2370667"/>
                  <a:gd name="connsiteY6" fmla="*/ 423333 h 2525889"/>
                  <a:gd name="connsiteX0" fmla="*/ 0 w 2370667"/>
                  <a:gd name="connsiteY0" fmla="*/ 423333 h 2525889"/>
                  <a:gd name="connsiteX1" fmla="*/ 1270000 w 2370667"/>
                  <a:gd name="connsiteY1" fmla="*/ 0 h 2525889"/>
                  <a:gd name="connsiteX2" fmla="*/ 2370667 w 2370667"/>
                  <a:gd name="connsiteY2" fmla="*/ 592667 h 2525889"/>
                  <a:gd name="connsiteX3" fmla="*/ 2215445 w 2370667"/>
                  <a:gd name="connsiteY3" fmla="*/ 1905309 h 2525889"/>
                  <a:gd name="connsiteX4" fmla="*/ 1114778 w 2370667"/>
                  <a:gd name="connsiteY4" fmla="*/ 2525889 h 2525889"/>
                  <a:gd name="connsiteX5" fmla="*/ 127000 w 2370667"/>
                  <a:gd name="connsiteY5" fmla="*/ 1763889 h 2525889"/>
                  <a:gd name="connsiteX6" fmla="*/ 0 w 2370667"/>
                  <a:gd name="connsiteY6" fmla="*/ 423333 h 25258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2370667" h="2525889">
                    <a:moveTo>
                      <a:pt x="0" y="423333"/>
                    </a:moveTo>
                    <a:lnTo>
                      <a:pt x="1270000" y="0"/>
                    </a:lnTo>
                    <a:lnTo>
                      <a:pt x="2370667" y="592667"/>
                    </a:lnTo>
                    <a:lnTo>
                      <a:pt x="2215445" y="1905309"/>
                    </a:lnTo>
                    <a:lnTo>
                      <a:pt x="1114778" y="2525889"/>
                    </a:lnTo>
                    <a:lnTo>
                      <a:pt x="127000" y="1763889"/>
                    </a:lnTo>
                    <a:lnTo>
                      <a:pt x="0" y="423333"/>
                    </a:lnTo>
                    <a:close/>
                  </a:path>
                </a:pathLst>
              </a:custGeom>
              <a:solidFill>
                <a:srgbClr val="9C6708"/>
              </a:soli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1pPr>
                <a:lvl2pPr marL="37931725" indent="-37474525"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2pPr>
                <a:lvl3pPr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3pPr>
                <a:lvl4pPr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4pPr>
                <a:lvl5pPr eaLnBrk="0" hangingPunct="0"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5pPr>
                <a:lvl6pPr marL="4572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6pPr>
                <a:lvl7pPr marL="9144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7pPr>
                <a:lvl8pPr marL="1371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8pPr>
                <a:lvl9pPr marL="18288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Calibri" pitchFamily="34" charset="0"/>
                    <a:ea typeface="MS PGothic" pitchFamily="34" charset="-128"/>
                  </a:defRPr>
                </a:lvl9pPr>
              </a:lstStyle>
              <a:p>
                <a:pPr algn="ctr" eaLnBrk="1" hangingPunct="1"/>
                <a:endParaRPr lang="nb-NO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Freeform 81"/>
              <p:cNvSpPr/>
              <p:nvPr/>
            </p:nvSpPr>
            <p:spPr bwMode="auto">
              <a:xfrm>
                <a:off x="4918748" y="3154911"/>
                <a:ext cx="829476" cy="400500"/>
              </a:xfrm>
              <a:custGeom>
                <a:avLst/>
                <a:gdLst>
                  <a:gd name="connsiteX0" fmla="*/ 0 w 1622778"/>
                  <a:gd name="connsiteY0" fmla="*/ 268111 h 903111"/>
                  <a:gd name="connsiteX1" fmla="*/ 1114778 w 1622778"/>
                  <a:gd name="connsiteY1" fmla="*/ 903111 h 903111"/>
                  <a:gd name="connsiteX2" fmla="*/ 1622778 w 1622778"/>
                  <a:gd name="connsiteY2" fmla="*/ 649111 h 903111"/>
                  <a:gd name="connsiteX3" fmla="*/ 409223 w 1622778"/>
                  <a:gd name="connsiteY3" fmla="*/ 0 h 903111"/>
                  <a:gd name="connsiteX4" fmla="*/ 0 w 1622778"/>
                  <a:gd name="connsiteY4" fmla="*/ 268111 h 903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2778" h="903111">
                    <a:moveTo>
                      <a:pt x="0" y="268111"/>
                    </a:moveTo>
                    <a:lnTo>
                      <a:pt x="1114778" y="903111"/>
                    </a:lnTo>
                    <a:lnTo>
                      <a:pt x="1622778" y="649111"/>
                    </a:lnTo>
                    <a:lnTo>
                      <a:pt x="409223" y="0"/>
                    </a:lnTo>
                    <a:lnTo>
                      <a:pt x="0" y="268111"/>
                    </a:lnTo>
                    <a:close/>
                  </a:path>
                </a:pathLst>
              </a:custGeom>
              <a:solidFill>
                <a:srgbClr val="F8C86E"/>
              </a:solidFill>
              <a:ln>
                <a:noFill/>
              </a:ln>
              <a:effectLst/>
            </p:spPr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  <a:latin typeface="Arial" pitchFamily="34" charset="0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83" name="Freeform 82"/>
              <p:cNvSpPr/>
              <p:nvPr/>
            </p:nvSpPr>
            <p:spPr bwMode="auto">
              <a:xfrm rot="21269315">
                <a:off x="4048128" y="3157476"/>
                <a:ext cx="886454" cy="326657"/>
              </a:xfrm>
              <a:custGeom>
                <a:avLst/>
                <a:gdLst>
                  <a:gd name="connsiteX0" fmla="*/ 423333 w 1763888"/>
                  <a:gd name="connsiteY0" fmla="*/ 818444 h 818444"/>
                  <a:gd name="connsiteX1" fmla="*/ 1763888 w 1763888"/>
                  <a:gd name="connsiteY1" fmla="*/ 381000 h 818444"/>
                  <a:gd name="connsiteX2" fmla="*/ 1439333 w 1763888"/>
                  <a:gd name="connsiteY2" fmla="*/ 0 h 818444"/>
                  <a:gd name="connsiteX3" fmla="*/ 0 w 1763888"/>
                  <a:gd name="connsiteY3" fmla="*/ 409222 h 818444"/>
                  <a:gd name="connsiteX4" fmla="*/ 423333 w 1763888"/>
                  <a:gd name="connsiteY4" fmla="*/ 818444 h 818444"/>
                  <a:gd name="connsiteX0" fmla="*/ 423333 w 1776895"/>
                  <a:gd name="connsiteY0" fmla="*/ 818444 h 818444"/>
                  <a:gd name="connsiteX1" fmla="*/ 1776895 w 1776895"/>
                  <a:gd name="connsiteY1" fmla="*/ 425130 h 818444"/>
                  <a:gd name="connsiteX2" fmla="*/ 1763888 w 1776895"/>
                  <a:gd name="connsiteY2" fmla="*/ 381000 h 818444"/>
                  <a:gd name="connsiteX3" fmla="*/ 1439333 w 1776895"/>
                  <a:gd name="connsiteY3" fmla="*/ 0 h 818444"/>
                  <a:gd name="connsiteX4" fmla="*/ 0 w 1776895"/>
                  <a:gd name="connsiteY4" fmla="*/ 409222 h 818444"/>
                  <a:gd name="connsiteX5" fmla="*/ 423333 w 1776895"/>
                  <a:gd name="connsiteY5" fmla="*/ 818444 h 818444"/>
                  <a:gd name="connsiteX0" fmla="*/ 423333 w 1776895"/>
                  <a:gd name="connsiteY0" fmla="*/ 818444 h 818444"/>
                  <a:gd name="connsiteX1" fmla="*/ 1776895 w 1776895"/>
                  <a:gd name="connsiteY1" fmla="*/ 425130 h 818444"/>
                  <a:gd name="connsiteX2" fmla="*/ 1439333 w 1776895"/>
                  <a:gd name="connsiteY2" fmla="*/ 0 h 818444"/>
                  <a:gd name="connsiteX3" fmla="*/ 0 w 1776895"/>
                  <a:gd name="connsiteY3" fmla="*/ 409222 h 818444"/>
                  <a:gd name="connsiteX4" fmla="*/ 423333 w 1776895"/>
                  <a:gd name="connsiteY4" fmla="*/ 818444 h 818444"/>
                  <a:gd name="connsiteX0" fmla="*/ 423333 w 1776895"/>
                  <a:gd name="connsiteY0" fmla="*/ 739330 h 739330"/>
                  <a:gd name="connsiteX1" fmla="*/ 1776895 w 1776895"/>
                  <a:gd name="connsiteY1" fmla="*/ 346016 h 739330"/>
                  <a:gd name="connsiteX2" fmla="*/ 1468333 w 1776895"/>
                  <a:gd name="connsiteY2" fmla="*/ 0 h 739330"/>
                  <a:gd name="connsiteX3" fmla="*/ 0 w 1776895"/>
                  <a:gd name="connsiteY3" fmla="*/ 330108 h 739330"/>
                  <a:gd name="connsiteX4" fmla="*/ 423333 w 1776895"/>
                  <a:gd name="connsiteY4" fmla="*/ 739330 h 739330"/>
                  <a:gd name="connsiteX0" fmla="*/ 442014 w 1776895"/>
                  <a:gd name="connsiteY0" fmla="*/ 736598 h 736597"/>
                  <a:gd name="connsiteX1" fmla="*/ 1776895 w 1776895"/>
                  <a:gd name="connsiteY1" fmla="*/ 346016 h 736597"/>
                  <a:gd name="connsiteX2" fmla="*/ 1468333 w 1776895"/>
                  <a:gd name="connsiteY2" fmla="*/ 0 h 736597"/>
                  <a:gd name="connsiteX3" fmla="*/ 0 w 1776895"/>
                  <a:gd name="connsiteY3" fmla="*/ 330108 h 736597"/>
                  <a:gd name="connsiteX4" fmla="*/ 442014 w 1776895"/>
                  <a:gd name="connsiteY4" fmla="*/ 736598 h 7365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776895" h="736597">
                    <a:moveTo>
                      <a:pt x="442014" y="736598"/>
                    </a:moveTo>
                    <a:cubicBezTo>
                      <a:pt x="882361" y="590993"/>
                      <a:pt x="1336548" y="491621"/>
                      <a:pt x="1776895" y="346016"/>
                    </a:cubicBezTo>
                    <a:lnTo>
                      <a:pt x="1468333" y="0"/>
                    </a:lnTo>
                    <a:lnTo>
                      <a:pt x="0" y="330108"/>
                    </a:lnTo>
                    <a:lnTo>
                      <a:pt x="442014" y="736598"/>
                    </a:lnTo>
                    <a:close/>
                  </a:path>
                </a:pathLst>
              </a:custGeom>
              <a:solidFill>
                <a:srgbClr val="F8C86E"/>
              </a:solidFill>
              <a:ln>
                <a:noFill/>
              </a:ln>
              <a:effectLst/>
            </p:spPr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  <a:latin typeface="Arial" pitchFamily="34" charset="0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84" name="Isosceles Triangle 83"/>
              <p:cNvSpPr/>
              <p:nvPr/>
            </p:nvSpPr>
            <p:spPr>
              <a:xfrm rot="10800000">
                <a:off x="3847338" y="2612537"/>
                <a:ext cx="2098688" cy="1380461"/>
              </a:xfrm>
              <a:prstGeom prst="triangle">
                <a:avLst/>
              </a:prstGeom>
              <a:gradFill flip="none" rotWithShape="1">
                <a:gsLst>
                  <a:gs pos="82000">
                    <a:schemeClr val="bg1">
                      <a:alpha val="0"/>
                    </a:schemeClr>
                  </a:gs>
                  <a:gs pos="0">
                    <a:srgbClr val="FFFFFF"/>
                  </a:gs>
                </a:gsLst>
                <a:lin ang="5400000" scaled="1"/>
                <a:tileRect/>
              </a:gra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Freeform 84"/>
              <p:cNvSpPr>
                <a:spLocks noChangeArrowheads="1"/>
              </p:cNvSpPr>
              <p:nvPr/>
            </p:nvSpPr>
            <p:spPr bwMode="auto">
              <a:xfrm>
                <a:off x="4295326" y="3497495"/>
                <a:ext cx="558106" cy="943735"/>
              </a:xfrm>
              <a:custGeom>
                <a:avLst/>
                <a:gdLst>
                  <a:gd name="T0" fmla="*/ 0 w 1100667"/>
                  <a:gd name="T1" fmla="*/ 0 h 2102555"/>
                  <a:gd name="T2" fmla="*/ 28231 w 1100667"/>
                  <a:gd name="T3" fmla="*/ 1353947 h 2102555"/>
                  <a:gd name="T4" fmla="*/ 1100991 w 1100667"/>
                  <a:gd name="T5" fmla="*/ 2101439 h 2102555"/>
                  <a:gd name="T6" fmla="*/ 1100991 w 1100667"/>
                  <a:gd name="T7" fmla="*/ 676973 h 2102555"/>
                  <a:gd name="T8" fmla="*/ 0 w 1100667"/>
                  <a:gd name="T9" fmla="*/ 0 h 2102555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100667"/>
                  <a:gd name="T16" fmla="*/ 0 h 2102555"/>
                  <a:gd name="T17" fmla="*/ 1100667 w 1100667"/>
                  <a:gd name="T18" fmla="*/ 2102555 h 2102555"/>
                  <a:gd name="connsiteX0" fmla="*/ 0 w 1109609"/>
                  <a:gd name="connsiteY0" fmla="*/ 0 h 2147306"/>
                  <a:gd name="connsiteX1" fmla="*/ 37165 w 1109609"/>
                  <a:gd name="connsiteY1" fmla="*/ 1399417 h 2147306"/>
                  <a:gd name="connsiteX2" fmla="*/ 1109609 w 1109609"/>
                  <a:gd name="connsiteY2" fmla="*/ 2147306 h 2147306"/>
                  <a:gd name="connsiteX3" fmla="*/ 1109609 w 1109609"/>
                  <a:gd name="connsiteY3" fmla="*/ 722084 h 2147306"/>
                  <a:gd name="connsiteX4" fmla="*/ 0 w 1109609"/>
                  <a:gd name="connsiteY4" fmla="*/ 0 h 2147306"/>
                  <a:gd name="connsiteX0" fmla="*/ 0 w 1091726"/>
                  <a:gd name="connsiteY0" fmla="*/ 0 h 2129406"/>
                  <a:gd name="connsiteX1" fmla="*/ 19282 w 1091726"/>
                  <a:gd name="connsiteY1" fmla="*/ 1381517 h 2129406"/>
                  <a:gd name="connsiteX2" fmla="*/ 1091726 w 1091726"/>
                  <a:gd name="connsiteY2" fmla="*/ 2129406 h 2129406"/>
                  <a:gd name="connsiteX3" fmla="*/ 1091726 w 1091726"/>
                  <a:gd name="connsiteY3" fmla="*/ 704184 h 2129406"/>
                  <a:gd name="connsiteX4" fmla="*/ 0 w 1091726"/>
                  <a:gd name="connsiteY4" fmla="*/ 0 h 212940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091726" h="2129406">
                    <a:moveTo>
                      <a:pt x="0" y="0"/>
                    </a:moveTo>
                    <a:lnTo>
                      <a:pt x="19282" y="1381517"/>
                    </a:lnTo>
                    <a:lnTo>
                      <a:pt x="1091726" y="2129406"/>
                    </a:lnTo>
                    <a:lnTo>
                      <a:pt x="1091726" y="70418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4A71C"/>
              </a:solidFill>
              <a:ln>
                <a:noFill/>
              </a:ln>
              <a:effectLst>
                <a:outerShdw blurRad="40000" dist="23000" dir="5400000" rotWithShape="0">
                  <a:srgbClr val="808080">
                    <a:alpha val="34999"/>
                  </a:srgbClr>
                </a:outerShdw>
              </a:effectLst>
            </p:spPr>
            <p:txBody>
              <a:bodyPr anchor="ctr"/>
              <a:lstStyle/>
              <a:p>
                <a:pPr algn="ctr"/>
                <a:endParaRPr lang="id-ID">
                  <a:solidFill>
                    <a:srgbClr val="FFFFFF"/>
                  </a:solidFill>
                </a:endParaRPr>
              </a:p>
            </p:txBody>
          </p:sp>
          <p:sp>
            <p:nvSpPr>
              <p:cNvPr id="86" name="Freeform 85"/>
              <p:cNvSpPr>
                <a:spLocks noChangeArrowheads="1"/>
              </p:cNvSpPr>
              <p:nvPr/>
            </p:nvSpPr>
            <p:spPr bwMode="auto">
              <a:xfrm>
                <a:off x="4853431" y="3577844"/>
                <a:ext cx="656280" cy="863386"/>
              </a:xfrm>
              <a:custGeom>
                <a:avLst/>
                <a:gdLst>
                  <a:gd name="T0" fmla="*/ 0 w 1284111"/>
                  <a:gd name="T1" fmla="*/ 522042 h 1947333"/>
                  <a:gd name="T2" fmla="*/ 1284146 w 1284111"/>
                  <a:gd name="T3" fmla="*/ 0 h 1947333"/>
                  <a:gd name="T4" fmla="*/ 1255923 w 1284111"/>
                  <a:gd name="T5" fmla="*/ 1312158 h 1947333"/>
                  <a:gd name="T6" fmla="*/ 0 w 1284111"/>
                  <a:gd name="T7" fmla="*/ 1947074 h 1947333"/>
                  <a:gd name="T8" fmla="*/ 0 w 1284111"/>
                  <a:gd name="T9" fmla="*/ 522042 h 1947333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84111"/>
                  <a:gd name="T16" fmla="*/ 0 h 1947333"/>
                  <a:gd name="T17" fmla="*/ 1284111 w 1284111"/>
                  <a:gd name="T18" fmla="*/ 1947333 h 1947333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84111" h="1947333">
                    <a:moveTo>
                      <a:pt x="0" y="522111"/>
                    </a:moveTo>
                    <a:lnTo>
                      <a:pt x="1284111" y="0"/>
                    </a:lnTo>
                    <a:lnTo>
                      <a:pt x="1255889" y="1312333"/>
                    </a:lnTo>
                    <a:lnTo>
                      <a:pt x="0" y="1947333"/>
                    </a:lnTo>
                    <a:lnTo>
                      <a:pt x="0" y="522111"/>
                    </a:lnTo>
                    <a:close/>
                  </a:path>
                </a:pathLst>
              </a:custGeom>
              <a:solidFill>
                <a:srgbClr val="F8C86E"/>
              </a:solidFill>
              <a:ln>
                <a:noFill/>
              </a:ln>
              <a:effectLst>
                <a:outerShdw blurRad="40000" dist="23000" dir="5400000" rotWithShape="0">
                  <a:srgbClr val="808080">
                    <a:alpha val="34999"/>
                  </a:srgbClr>
                </a:outerShdw>
              </a:effectLst>
            </p:spPr>
            <p:txBody>
              <a:bodyPr anchor="ctr"/>
              <a:lstStyle/>
              <a:p>
                <a:pPr algn="ctr"/>
                <a:endParaRPr lang="id-ID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Freeform 86"/>
              <p:cNvSpPr/>
              <p:nvPr/>
            </p:nvSpPr>
            <p:spPr bwMode="auto">
              <a:xfrm>
                <a:off x="4839450" y="3555411"/>
                <a:ext cx="983232" cy="319149"/>
              </a:xfrm>
              <a:custGeom>
                <a:avLst/>
                <a:gdLst>
                  <a:gd name="connsiteX0" fmla="*/ 0 w 1919111"/>
                  <a:gd name="connsiteY0" fmla="*/ 508000 h 677333"/>
                  <a:gd name="connsiteX1" fmla="*/ 1284111 w 1919111"/>
                  <a:gd name="connsiteY1" fmla="*/ 0 h 677333"/>
                  <a:gd name="connsiteX2" fmla="*/ 1919111 w 1919111"/>
                  <a:gd name="connsiteY2" fmla="*/ 70555 h 677333"/>
                  <a:gd name="connsiteX3" fmla="*/ 465667 w 1919111"/>
                  <a:gd name="connsiteY3" fmla="*/ 677333 h 677333"/>
                  <a:gd name="connsiteX4" fmla="*/ 0 w 1919111"/>
                  <a:gd name="connsiteY4" fmla="*/ 508000 h 677333"/>
                  <a:gd name="connsiteX0" fmla="*/ 0 w 1919111"/>
                  <a:gd name="connsiteY0" fmla="*/ 550334 h 719667"/>
                  <a:gd name="connsiteX1" fmla="*/ 1284111 w 1919111"/>
                  <a:gd name="connsiteY1" fmla="*/ 0 h 719667"/>
                  <a:gd name="connsiteX2" fmla="*/ 1919111 w 1919111"/>
                  <a:gd name="connsiteY2" fmla="*/ 112889 h 719667"/>
                  <a:gd name="connsiteX3" fmla="*/ 465667 w 1919111"/>
                  <a:gd name="connsiteY3" fmla="*/ 719667 h 719667"/>
                  <a:gd name="connsiteX4" fmla="*/ 0 w 1919111"/>
                  <a:gd name="connsiteY4" fmla="*/ 550334 h 719667"/>
                  <a:gd name="connsiteX0" fmla="*/ 0 w 1919111"/>
                  <a:gd name="connsiteY0" fmla="*/ 522111 h 719667"/>
                  <a:gd name="connsiteX1" fmla="*/ 1284111 w 1919111"/>
                  <a:gd name="connsiteY1" fmla="*/ 0 h 719667"/>
                  <a:gd name="connsiteX2" fmla="*/ 1919111 w 1919111"/>
                  <a:gd name="connsiteY2" fmla="*/ 112889 h 719667"/>
                  <a:gd name="connsiteX3" fmla="*/ 465667 w 1919111"/>
                  <a:gd name="connsiteY3" fmla="*/ 719667 h 719667"/>
                  <a:gd name="connsiteX4" fmla="*/ 0 w 1919111"/>
                  <a:gd name="connsiteY4" fmla="*/ 522111 h 719667"/>
                  <a:gd name="connsiteX0" fmla="*/ 0 w 1919111"/>
                  <a:gd name="connsiteY0" fmla="*/ 522111 h 719667"/>
                  <a:gd name="connsiteX1" fmla="*/ 1266226 w 1919111"/>
                  <a:gd name="connsiteY1" fmla="*/ 0 h 719667"/>
                  <a:gd name="connsiteX2" fmla="*/ 1919111 w 1919111"/>
                  <a:gd name="connsiteY2" fmla="*/ 112889 h 719667"/>
                  <a:gd name="connsiteX3" fmla="*/ 465667 w 1919111"/>
                  <a:gd name="connsiteY3" fmla="*/ 719667 h 719667"/>
                  <a:gd name="connsiteX4" fmla="*/ 0 w 1919111"/>
                  <a:gd name="connsiteY4" fmla="*/ 522111 h 719667"/>
                  <a:gd name="connsiteX0" fmla="*/ 0 w 1923584"/>
                  <a:gd name="connsiteY0" fmla="*/ 593666 h 719667"/>
                  <a:gd name="connsiteX1" fmla="*/ 1270699 w 1923584"/>
                  <a:gd name="connsiteY1" fmla="*/ 0 h 719667"/>
                  <a:gd name="connsiteX2" fmla="*/ 1923584 w 1923584"/>
                  <a:gd name="connsiteY2" fmla="*/ 112889 h 719667"/>
                  <a:gd name="connsiteX3" fmla="*/ 470140 w 1923584"/>
                  <a:gd name="connsiteY3" fmla="*/ 719667 h 719667"/>
                  <a:gd name="connsiteX4" fmla="*/ 0 w 1923584"/>
                  <a:gd name="connsiteY4" fmla="*/ 593666 h 71966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923584" h="719667">
                    <a:moveTo>
                      <a:pt x="0" y="593666"/>
                    </a:moveTo>
                    <a:lnTo>
                      <a:pt x="1270699" y="0"/>
                    </a:lnTo>
                    <a:lnTo>
                      <a:pt x="1923584" y="112889"/>
                    </a:lnTo>
                    <a:lnTo>
                      <a:pt x="470140" y="719667"/>
                    </a:lnTo>
                    <a:lnTo>
                      <a:pt x="0" y="593666"/>
                    </a:lnTo>
                    <a:close/>
                  </a:path>
                </a:pathLst>
              </a:custGeom>
              <a:solidFill>
                <a:srgbClr val="F9D28B"/>
              </a:solidFill>
              <a:ln>
                <a:noFill/>
              </a:ln>
              <a:effectLst/>
            </p:spPr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  <a:latin typeface="Arial" pitchFamily="34" charset="0"/>
                  <a:ea typeface="Arial Unicode MS" pitchFamily="34" charset="-128"/>
                  <a:cs typeface="Arial Unicode MS" pitchFamily="34" charset="-128"/>
                </a:endParaRPr>
              </a:p>
            </p:txBody>
          </p:sp>
          <p:sp>
            <p:nvSpPr>
              <p:cNvPr id="88" name="Freeform 87"/>
              <p:cNvSpPr/>
              <p:nvPr/>
            </p:nvSpPr>
            <p:spPr bwMode="auto">
              <a:xfrm rot="240000">
                <a:off x="4071292" y="3506973"/>
                <a:ext cx="794382" cy="383556"/>
              </a:xfrm>
              <a:custGeom>
                <a:avLst/>
                <a:gdLst>
                  <a:gd name="connsiteX0" fmla="*/ 0 w 1622778"/>
                  <a:gd name="connsiteY0" fmla="*/ 268111 h 903111"/>
                  <a:gd name="connsiteX1" fmla="*/ 1114778 w 1622778"/>
                  <a:gd name="connsiteY1" fmla="*/ 903111 h 903111"/>
                  <a:gd name="connsiteX2" fmla="*/ 1622778 w 1622778"/>
                  <a:gd name="connsiteY2" fmla="*/ 649111 h 903111"/>
                  <a:gd name="connsiteX3" fmla="*/ 409223 w 1622778"/>
                  <a:gd name="connsiteY3" fmla="*/ 0 h 903111"/>
                  <a:gd name="connsiteX4" fmla="*/ 0 w 1622778"/>
                  <a:gd name="connsiteY4" fmla="*/ 268111 h 90311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622778" h="903111">
                    <a:moveTo>
                      <a:pt x="0" y="268111"/>
                    </a:moveTo>
                    <a:lnTo>
                      <a:pt x="1114778" y="903111"/>
                    </a:lnTo>
                    <a:lnTo>
                      <a:pt x="1622778" y="649111"/>
                    </a:lnTo>
                    <a:lnTo>
                      <a:pt x="409223" y="0"/>
                    </a:lnTo>
                    <a:lnTo>
                      <a:pt x="0" y="268111"/>
                    </a:lnTo>
                    <a:close/>
                  </a:path>
                </a:pathLst>
              </a:custGeom>
              <a:solidFill>
                <a:srgbClr val="F8C86E"/>
              </a:solidFill>
              <a:ln>
                <a:noFill/>
              </a:ln>
              <a:effectLst/>
            </p:spPr>
            <p:txBody>
              <a:bodyPr anchor="ctr"/>
              <a:lstStyle/>
              <a:p>
                <a:pPr algn="ctr"/>
                <a:endParaRPr lang="en-US">
                  <a:solidFill>
                    <a:srgbClr val="FFFFFF"/>
                  </a:solidFill>
                  <a:latin typeface="Arial" pitchFamily="34" charset="0"/>
                  <a:ea typeface="Arial Unicode MS" pitchFamily="34" charset="-128"/>
                  <a:cs typeface="Arial Unicode MS" pitchFamily="34" charset="-128"/>
                </a:endParaRPr>
              </a:p>
            </p:txBody>
          </p:sp>
        </p:grpSp>
        <p:sp>
          <p:nvSpPr>
            <p:cNvPr id="80" name="Freeform 79"/>
            <p:cNvSpPr>
              <a:spLocks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9633666" y="2233958"/>
              <a:ext cx="1180551" cy="1786989"/>
            </a:xfrm>
            <a:custGeom>
              <a:avLst/>
              <a:gdLst>
                <a:gd name="T0" fmla="*/ 5 w 913"/>
                <a:gd name="T1" fmla="*/ 402 h 1382"/>
                <a:gd name="T2" fmla="*/ 46 w 913"/>
                <a:gd name="T3" fmla="*/ 264 h 1382"/>
                <a:gd name="T4" fmla="*/ 90 w 913"/>
                <a:gd name="T5" fmla="*/ 187 h 1382"/>
                <a:gd name="T6" fmla="*/ 145 w 913"/>
                <a:gd name="T7" fmla="*/ 122 h 1382"/>
                <a:gd name="T8" fmla="*/ 246 w 913"/>
                <a:gd name="T9" fmla="*/ 49 h 1382"/>
                <a:gd name="T10" fmla="*/ 306 w 913"/>
                <a:gd name="T11" fmla="*/ 25 h 1382"/>
                <a:gd name="T12" fmla="*/ 370 w 913"/>
                <a:gd name="T13" fmla="*/ 9 h 1382"/>
                <a:gd name="T14" fmla="*/ 460 w 913"/>
                <a:gd name="T15" fmla="*/ 0 h 1382"/>
                <a:gd name="T16" fmla="*/ 602 w 913"/>
                <a:gd name="T17" fmla="*/ 16 h 1382"/>
                <a:gd name="T18" fmla="*/ 685 w 913"/>
                <a:gd name="T19" fmla="*/ 46 h 1382"/>
                <a:gd name="T20" fmla="*/ 787 w 913"/>
                <a:gd name="T21" fmla="*/ 110 h 1382"/>
                <a:gd name="T22" fmla="*/ 841 w 913"/>
                <a:gd name="T23" fmla="*/ 166 h 1382"/>
                <a:gd name="T24" fmla="*/ 881 w 913"/>
                <a:gd name="T25" fmla="*/ 233 h 1382"/>
                <a:gd name="T26" fmla="*/ 901 w 913"/>
                <a:gd name="T27" fmla="*/ 288 h 1382"/>
                <a:gd name="T28" fmla="*/ 911 w 913"/>
                <a:gd name="T29" fmla="*/ 348 h 1382"/>
                <a:gd name="T30" fmla="*/ 913 w 913"/>
                <a:gd name="T31" fmla="*/ 414 h 1382"/>
                <a:gd name="T32" fmla="*/ 902 w 913"/>
                <a:gd name="T33" fmla="*/ 481 h 1382"/>
                <a:gd name="T34" fmla="*/ 879 w 913"/>
                <a:gd name="T35" fmla="*/ 547 h 1382"/>
                <a:gd name="T36" fmla="*/ 858 w 913"/>
                <a:gd name="T37" fmla="*/ 586 h 1382"/>
                <a:gd name="T38" fmla="*/ 810 w 913"/>
                <a:gd name="T39" fmla="*/ 651 h 1382"/>
                <a:gd name="T40" fmla="*/ 741 w 913"/>
                <a:gd name="T41" fmla="*/ 718 h 1382"/>
                <a:gd name="T42" fmla="*/ 669 w 913"/>
                <a:gd name="T43" fmla="*/ 780 h 1382"/>
                <a:gd name="T44" fmla="*/ 619 w 913"/>
                <a:gd name="T45" fmla="*/ 830 h 1382"/>
                <a:gd name="T46" fmla="*/ 593 w 913"/>
                <a:gd name="T47" fmla="*/ 869 h 1382"/>
                <a:gd name="T48" fmla="*/ 584 w 913"/>
                <a:gd name="T49" fmla="*/ 899 h 1382"/>
                <a:gd name="T50" fmla="*/ 573 w 913"/>
                <a:gd name="T51" fmla="*/ 998 h 1382"/>
                <a:gd name="T52" fmla="*/ 334 w 913"/>
                <a:gd name="T53" fmla="*/ 1067 h 1382"/>
                <a:gd name="T54" fmla="*/ 342 w 913"/>
                <a:gd name="T55" fmla="*/ 927 h 1382"/>
                <a:gd name="T56" fmla="*/ 350 w 913"/>
                <a:gd name="T57" fmla="*/ 855 h 1382"/>
                <a:gd name="T58" fmla="*/ 377 w 913"/>
                <a:gd name="T59" fmla="*/ 773 h 1382"/>
                <a:gd name="T60" fmla="*/ 402 w 913"/>
                <a:gd name="T61" fmla="*/ 731 h 1382"/>
                <a:gd name="T62" fmla="*/ 455 w 913"/>
                <a:gd name="T63" fmla="*/ 665 h 1382"/>
                <a:gd name="T64" fmla="*/ 526 w 913"/>
                <a:gd name="T65" fmla="*/ 598 h 1382"/>
                <a:gd name="T66" fmla="*/ 600 w 913"/>
                <a:gd name="T67" fmla="*/ 531 h 1382"/>
                <a:gd name="T68" fmla="*/ 641 w 913"/>
                <a:gd name="T69" fmla="*/ 481 h 1382"/>
                <a:gd name="T70" fmla="*/ 655 w 913"/>
                <a:gd name="T71" fmla="*/ 451 h 1382"/>
                <a:gd name="T72" fmla="*/ 660 w 913"/>
                <a:gd name="T73" fmla="*/ 421 h 1382"/>
                <a:gd name="T74" fmla="*/ 660 w 913"/>
                <a:gd name="T75" fmla="*/ 380 h 1382"/>
                <a:gd name="T76" fmla="*/ 646 w 913"/>
                <a:gd name="T77" fmla="*/ 324 h 1382"/>
                <a:gd name="T78" fmla="*/ 628 w 913"/>
                <a:gd name="T79" fmla="*/ 292 h 1382"/>
                <a:gd name="T80" fmla="*/ 605 w 913"/>
                <a:gd name="T81" fmla="*/ 264 h 1382"/>
                <a:gd name="T82" fmla="*/ 561 w 913"/>
                <a:gd name="T83" fmla="*/ 232 h 1382"/>
                <a:gd name="T84" fmla="*/ 524 w 913"/>
                <a:gd name="T85" fmla="*/ 218 h 1382"/>
                <a:gd name="T86" fmla="*/ 462 w 913"/>
                <a:gd name="T87" fmla="*/ 210 h 1382"/>
                <a:gd name="T88" fmla="*/ 421 w 913"/>
                <a:gd name="T89" fmla="*/ 214 h 1382"/>
                <a:gd name="T90" fmla="*/ 368 w 913"/>
                <a:gd name="T91" fmla="*/ 233 h 1382"/>
                <a:gd name="T92" fmla="*/ 324 w 913"/>
                <a:gd name="T93" fmla="*/ 271 h 1382"/>
                <a:gd name="T94" fmla="*/ 288 w 913"/>
                <a:gd name="T95" fmla="*/ 324 h 1382"/>
                <a:gd name="T96" fmla="*/ 264 w 913"/>
                <a:gd name="T97" fmla="*/ 394 h 1382"/>
                <a:gd name="T98" fmla="*/ 0 w 913"/>
                <a:gd name="T99" fmla="*/ 451 h 1382"/>
                <a:gd name="T100" fmla="*/ 327 w 913"/>
                <a:gd name="T101" fmla="*/ 1122 h 1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913" h="1382">
                  <a:moveTo>
                    <a:pt x="0" y="451"/>
                  </a:moveTo>
                  <a:lnTo>
                    <a:pt x="0" y="451"/>
                  </a:lnTo>
                  <a:lnTo>
                    <a:pt x="5" y="402"/>
                  </a:lnTo>
                  <a:lnTo>
                    <a:pt x="16" y="352"/>
                  </a:lnTo>
                  <a:lnTo>
                    <a:pt x="28" y="308"/>
                  </a:lnTo>
                  <a:lnTo>
                    <a:pt x="46" y="264"/>
                  </a:lnTo>
                  <a:lnTo>
                    <a:pt x="46" y="264"/>
                  </a:lnTo>
                  <a:lnTo>
                    <a:pt x="67" y="225"/>
                  </a:lnTo>
                  <a:lnTo>
                    <a:pt x="90" y="187"/>
                  </a:lnTo>
                  <a:lnTo>
                    <a:pt x="115" y="154"/>
                  </a:lnTo>
                  <a:lnTo>
                    <a:pt x="145" y="122"/>
                  </a:lnTo>
                  <a:lnTo>
                    <a:pt x="145" y="122"/>
                  </a:lnTo>
                  <a:lnTo>
                    <a:pt x="175" y="95"/>
                  </a:lnTo>
                  <a:lnTo>
                    <a:pt x="211" y="71"/>
                  </a:lnTo>
                  <a:lnTo>
                    <a:pt x="246" y="49"/>
                  </a:lnTo>
                  <a:lnTo>
                    <a:pt x="285" y="32"/>
                  </a:lnTo>
                  <a:lnTo>
                    <a:pt x="285" y="32"/>
                  </a:lnTo>
                  <a:lnTo>
                    <a:pt x="306" y="25"/>
                  </a:lnTo>
                  <a:lnTo>
                    <a:pt x="326" y="18"/>
                  </a:lnTo>
                  <a:lnTo>
                    <a:pt x="347" y="12"/>
                  </a:lnTo>
                  <a:lnTo>
                    <a:pt x="370" y="9"/>
                  </a:lnTo>
                  <a:lnTo>
                    <a:pt x="414" y="2"/>
                  </a:lnTo>
                  <a:lnTo>
                    <a:pt x="460" y="0"/>
                  </a:lnTo>
                  <a:lnTo>
                    <a:pt x="460" y="0"/>
                  </a:lnTo>
                  <a:lnTo>
                    <a:pt x="510" y="2"/>
                  </a:lnTo>
                  <a:lnTo>
                    <a:pt x="557" y="7"/>
                  </a:lnTo>
                  <a:lnTo>
                    <a:pt x="602" y="16"/>
                  </a:lnTo>
                  <a:lnTo>
                    <a:pt x="644" y="30"/>
                  </a:lnTo>
                  <a:lnTo>
                    <a:pt x="644" y="30"/>
                  </a:lnTo>
                  <a:lnTo>
                    <a:pt x="685" y="46"/>
                  </a:lnTo>
                  <a:lnTo>
                    <a:pt x="722" y="64"/>
                  </a:lnTo>
                  <a:lnTo>
                    <a:pt x="757" y="85"/>
                  </a:lnTo>
                  <a:lnTo>
                    <a:pt x="787" y="110"/>
                  </a:lnTo>
                  <a:lnTo>
                    <a:pt x="787" y="110"/>
                  </a:lnTo>
                  <a:lnTo>
                    <a:pt x="816" y="138"/>
                  </a:lnTo>
                  <a:lnTo>
                    <a:pt x="841" y="166"/>
                  </a:lnTo>
                  <a:lnTo>
                    <a:pt x="862" y="198"/>
                  </a:lnTo>
                  <a:lnTo>
                    <a:pt x="881" y="233"/>
                  </a:lnTo>
                  <a:lnTo>
                    <a:pt x="881" y="233"/>
                  </a:lnTo>
                  <a:lnTo>
                    <a:pt x="888" y="251"/>
                  </a:lnTo>
                  <a:lnTo>
                    <a:pt x="895" y="271"/>
                  </a:lnTo>
                  <a:lnTo>
                    <a:pt x="901" y="288"/>
                  </a:lnTo>
                  <a:lnTo>
                    <a:pt x="906" y="308"/>
                  </a:lnTo>
                  <a:lnTo>
                    <a:pt x="910" y="327"/>
                  </a:lnTo>
                  <a:lnTo>
                    <a:pt x="911" y="348"/>
                  </a:lnTo>
                  <a:lnTo>
                    <a:pt x="913" y="389"/>
                  </a:lnTo>
                  <a:lnTo>
                    <a:pt x="913" y="389"/>
                  </a:lnTo>
                  <a:lnTo>
                    <a:pt x="913" y="414"/>
                  </a:lnTo>
                  <a:lnTo>
                    <a:pt x="911" y="437"/>
                  </a:lnTo>
                  <a:lnTo>
                    <a:pt x="908" y="460"/>
                  </a:lnTo>
                  <a:lnTo>
                    <a:pt x="902" y="481"/>
                  </a:lnTo>
                  <a:lnTo>
                    <a:pt x="897" y="504"/>
                  </a:lnTo>
                  <a:lnTo>
                    <a:pt x="888" y="525"/>
                  </a:lnTo>
                  <a:lnTo>
                    <a:pt x="879" y="547"/>
                  </a:lnTo>
                  <a:lnTo>
                    <a:pt x="869" y="566"/>
                  </a:lnTo>
                  <a:lnTo>
                    <a:pt x="869" y="566"/>
                  </a:lnTo>
                  <a:lnTo>
                    <a:pt x="858" y="586"/>
                  </a:lnTo>
                  <a:lnTo>
                    <a:pt x="844" y="607"/>
                  </a:lnTo>
                  <a:lnTo>
                    <a:pt x="828" y="628"/>
                  </a:lnTo>
                  <a:lnTo>
                    <a:pt x="810" y="651"/>
                  </a:lnTo>
                  <a:lnTo>
                    <a:pt x="789" y="672"/>
                  </a:lnTo>
                  <a:lnTo>
                    <a:pt x="766" y="695"/>
                  </a:lnTo>
                  <a:lnTo>
                    <a:pt x="741" y="718"/>
                  </a:lnTo>
                  <a:lnTo>
                    <a:pt x="713" y="741"/>
                  </a:lnTo>
                  <a:lnTo>
                    <a:pt x="713" y="741"/>
                  </a:lnTo>
                  <a:lnTo>
                    <a:pt x="669" y="780"/>
                  </a:lnTo>
                  <a:lnTo>
                    <a:pt x="634" y="814"/>
                  </a:lnTo>
                  <a:lnTo>
                    <a:pt x="634" y="814"/>
                  </a:lnTo>
                  <a:lnTo>
                    <a:pt x="619" y="830"/>
                  </a:lnTo>
                  <a:lnTo>
                    <a:pt x="609" y="844"/>
                  </a:lnTo>
                  <a:lnTo>
                    <a:pt x="600" y="856"/>
                  </a:lnTo>
                  <a:lnTo>
                    <a:pt x="593" y="869"/>
                  </a:lnTo>
                  <a:lnTo>
                    <a:pt x="593" y="869"/>
                  </a:lnTo>
                  <a:lnTo>
                    <a:pt x="589" y="881"/>
                  </a:lnTo>
                  <a:lnTo>
                    <a:pt x="584" y="899"/>
                  </a:lnTo>
                  <a:lnTo>
                    <a:pt x="580" y="918"/>
                  </a:lnTo>
                  <a:lnTo>
                    <a:pt x="579" y="941"/>
                  </a:lnTo>
                  <a:lnTo>
                    <a:pt x="573" y="998"/>
                  </a:lnTo>
                  <a:lnTo>
                    <a:pt x="573" y="1067"/>
                  </a:lnTo>
                  <a:lnTo>
                    <a:pt x="334" y="1067"/>
                  </a:lnTo>
                  <a:lnTo>
                    <a:pt x="334" y="1067"/>
                  </a:lnTo>
                  <a:lnTo>
                    <a:pt x="336" y="1017"/>
                  </a:lnTo>
                  <a:lnTo>
                    <a:pt x="338" y="970"/>
                  </a:lnTo>
                  <a:lnTo>
                    <a:pt x="342" y="927"/>
                  </a:lnTo>
                  <a:lnTo>
                    <a:pt x="345" y="888"/>
                  </a:lnTo>
                  <a:lnTo>
                    <a:pt x="345" y="888"/>
                  </a:lnTo>
                  <a:lnTo>
                    <a:pt x="350" y="855"/>
                  </a:lnTo>
                  <a:lnTo>
                    <a:pt x="357" y="823"/>
                  </a:lnTo>
                  <a:lnTo>
                    <a:pt x="366" y="796"/>
                  </a:lnTo>
                  <a:lnTo>
                    <a:pt x="377" y="773"/>
                  </a:lnTo>
                  <a:lnTo>
                    <a:pt x="377" y="773"/>
                  </a:lnTo>
                  <a:lnTo>
                    <a:pt x="388" y="752"/>
                  </a:lnTo>
                  <a:lnTo>
                    <a:pt x="402" y="731"/>
                  </a:lnTo>
                  <a:lnTo>
                    <a:pt x="416" y="708"/>
                  </a:lnTo>
                  <a:lnTo>
                    <a:pt x="434" y="686"/>
                  </a:lnTo>
                  <a:lnTo>
                    <a:pt x="455" y="665"/>
                  </a:lnTo>
                  <a:lnTo>
                    <a:pt x="476" y="642"/>
                  </a:lnTo>
                  <a:lnTo>
                    <a:pt x="499" y="621"/>
                  </a:lnTo>
                  <a:lnTo>
                    <a:pt x="526" y="598"/>
                  </a:lnTo>
                  <a:lnTo>
                    <a:pt x="526" y="598"/>
                  </a:lnTo>
                  <a:lnTo>
                    <a:pt x="568" y="561"/>
                  </a:lnTo>
                  <a:lnTo>
                    <a:pt x="600" y="531"/>
                  </a:lnTo>
                  <a:lnTo>
                    <a:pt x="600" y="531"/>
                  </a:lnTo>
                  <a:lnTo>
                    <a:pt x="623" y="504"/>
                  </a:lnTo>
                  <a:lnTo>
                    <a:pt x="641" y="481"/>
                  </a:lnTo>
                  <a:lnTo>
                    <a:pt x="641" y="481"/>
                  </a:lnTo>
                  <a:lnTo>
                    <a:pt x="651" y="460"/>
                  </a:lnTo>
                  <a:lnTo>
                    <a:pt x="655" y="451"/>
                  </a:lnTo>
                  <a:lnTo>
                    <a:pt x="657" y="441"/>
                  </a:lnTo>
                  <a:lnTo>
                    <a:pt x="657" y="441"/>
                  </a:lnTo>
                  <a:lnTo>
                    <a:pt x="660" y="421"/>
                  </a:lnTo>
                  <a:lnTo>
                    <a:pt x="660" y="400"/>
                  </a:lnTo>
                  <a:lnTo>
                    <a:pt x="660" y="400"/>
                  </a:lnTo>
                  <a:lnTo>
                    <a:pt x="660" y="380"/>
                  </a:lnTo>
                  <a:lnTo>
                    <a:pt x="657" y="361"/>
                  </a:lnTo>
                  <a:lnTo>
                    <a:pt x="653" y="341"/>
                  </a:lnTo>
                  <a:lnTo>
                    <a:pt x="646" y="324"/>
                  </a:lnTo>
                  <a:lnTo>
                    <a:pt x="646" y="324"/>
                  </a:lnTo>
                  <a:lnTo>
                    <a:pt x="637" y="308"/>
                  </a:lnTo>
                  <a:lnTo>
                    <a:pt x="628" y="292"/>
                  </a:lnTo>
                  <a:lnTo>
                    <a:pt x="618" y="278"/>
                  </a:lnTo>
                  <a:lnTo>
                    <a:pt x="605" y="264"/>
                  </a:lnTo>
                  <a:lnTo>
                    <a:pt x="605" y="264"/>
                  </a:lnTo>
                  <a:lnTo>
                    <a:pt x="591" y="253"/>
                  </a:lnTo>
                  <a:lnTo>
                    <a:pt x="577" y="242"/>
                  </a:lnTo>
                  <a:lnTo>
                    <a:pt x="561" y="232"/>
                  </a:lnTo>
                  <a:lnTo>
                    <a:pt x="543" y="225"/>
                  </a:lnTo>
                  <a:lnTo>
                    <a:pt x="543" y="225"/>
                  </a:lnTo>
                  <a:lnTo>
                    <a:pt x="524" y="218"/>
                  </a:lnTo>
                  <a:lnTo>
                    <a:pt x="504" y="214"/>
                  </a:lnTo>
                  <a:lnTo>
                    <a:pt x="485" y="210"/>
                  </a:lnTo>
                  <a:lnTo>
                    <a:pt x="462" y="210"/>
                  </a:lnTo>
                  <a:lnTo>
                    <a:pt x="462" y="210"/>
                  </a:lnTo>
                  <a:lnTo>
                    <a:pt x="441" y="210"/>
                  </a:lnTo>
                  <a:lnTo>
                    <a:pt x="421" y="214"/>
                  </a:lnTo>
                  <a:lnTo>
                    <a:pt x="402" y="219"/>
                  </a:lnTo>
                  <a:lnTo>
                    <a:pt x="384" y="225"/>
                  </a:lnTo>
                  <a:lnTo>
                    <a:pt x="368" y="233"/>
                  </a:lnTo>
                  <a:lnTo>
                    <a:pt x="352" y="244"/>
                  </a:lnTo>
                  <a:lnTo>
                    <a:pt x="336" y="256"/>
                  </a:lnTo>
                  <a:lnTo>
                    <a:pt x="324" y="271"/>
                  </a:lnTo>
                  <a:lnTo>
                    <a:pt x="311" y="287"/>
                  </a:lnTo>
                  <a:lnTo>
                    <a:pt x="299" y="304"/>
                  </a:lnTo>
                  <a:lnTo>
                    <a:pt x="288" y="324"/>
                  </a:lnTo>
                  <a:lnTo>
                    <a:pt x="280" y="347"/>
                  </a:lnTo>
                  <a:lnTo>
                    <a:pt x="271" y="370"/>
                  </a:lnTo>
                  <a:lnTo>
                    <a:pt x="264" y="394"/>
                  </a:lnTo>
                  <a:lnTo>
                    <a:pt x="258" y="423"/>
                  </a:lnTo>
                  <a:lnTo>
                    <a:pt x="253" y="451"/>
                  </a:lnTo>
                  <a:lnTo>
                    <a:pt x="0" y="451"/>
                  </a:lnTo>
                  <a:close/>
                  <a:moveTo>
                    <a:pt x="591" y="1382"/>
                  </a:moveTo>
                  <a:lnTo>
                    <a:pt x="327" y="1382"/>
                  </a:lnTo>
                  <a:lnTo>
                    <a:pt x="327" y="1122"/>
                  </a:lnTo>
                  <a:lnTo>
                    <a:pt x="591" y="1122"/>
                  </a:lnTo>
                  <a:lnTo>
                    <a:pt x="591" y="1382"/>
                  </a:lnTo>
                  <a:close/>
                </a:path>
              </a:pathLst>
            </a:custGeom>
            <a:gradFill>
              <a:gsLst>
                <a:gs pos="100000">
                  <a:schemeClr val="accent1"/>
                </a:gs>
                <a:gs pos="0">
                  <a:schemeClr val="accent2"/>
                </a:gs>
              </a:gsLst>
              <a:lin ang="5400000" scaled="1"/>
            </a:gradFill>
            <a:ln>
              <a:noFill/>
            </a:ln>
            <a:scene3d>
              <a:camera prst="perspectiveRight"/>
              <a:lightRig rig="threePt" dir="t"/>
            </a:scene3d>
            <a:sp3d extrusionH="374650">
              <a:bevelB w="0"/>
            </a:sp3d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1" name="Content Placeholder 2"/>
          <p:cNvSpPr txBox="1">
            <a:spLocks/>
          </p:cNvSpPr>
          <p:nvPr/>
        </p:nvSpPr>
        <p:spPr>
          <a:xfrm>
            <a:off x="2314245" y="1555807"/>
            <a:ext cx="1910143" cy="4057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en-US"/>
            </a:defPPr>
            <a:lvl1pPr>
              <a:defRPr sz="2000" b="1">
                <a:solidFill>
                  <a:schemeClr val="tx1">
                    <a:lumMod val="75000"/>
                    <a:lumOff val="2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algn="r"/>
            <a:r>
              <a:rPr lang="sr-Latn-RS" sz="1800" b="0" dirty="0" smtClean="0">
                <a:latin typeface="Bebas Neue" panose="020B0606020202050201" pitchFamily="34" charset="0"/>
              </a:rPr>
              <a:t>What</a:t>
            </a:r>
            <a:r>
              <a:rPr lang="en-US" sz="1800" b="0" dirty="0" smtClean="0">
                <a:latin typeface="Bebas Neue" panose="020B0606020202050201" pitchFamily="34" charset="0"/>
              </a:rPr>
              <a:t>’s your phone number?</a:t>
            </a:r>
            <a:endParaRPr lang="en-US" sz="1800" b="0" dirty="0">
              <a:latin typeface="Bebas Neue" panose="020B0606020202050201" pitchFamily="34" charset="0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1058038" y="3660671"/>
            <a:ext cx="251241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buClr>
                <a:srgbClr val="E24848"/>
              </a:buClr>
            </a:pPr>
            <a:r>
              <a:rPr lang="en-US" sz="16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It’s 020189364</a:t>
            </a:r>
            <a:endParaRPr lang="en-US" sz="16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1440112" y="2079109"/>
            <a:ext cx="2512415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buClr>
                <a:srgbClr val="E24848"/>
              </a:buClr>
            </a:pPr>
            <a:r>
              <a:rPr lang="en-US" sz="16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It’s 069875326</a:t>
            </a:r>
            <a:endParaRPr lang="en-US" sz="16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952799" y="4268478"/>
            <a:ext cx="1647497" cy="28007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en-US" sz="1600" dirty="0"/>
              <a:t>1 – one</a:t>
            </a:r>
          </a:p>
          <a:p>
            <a:pPr fontAlgn="base"/>
            <a:r>
              <a:rPr lang="en-US" sz="1600" dirty="0"/>
              <a:t>2 – two</a:t>
            </a:r>
          </a:p>
          <a:p>
            <a:pPr fontAlgn="base"/>
            <a:r>
              <a:rPr lang="en-US" sz="1600" dirty="0"/>
              <a:t>3 – three</a:t>
            </a:r>
          </a:p>
          <a:p>
            <a:pPr fontAlgn="base"/>
            <a:r>
              <a:rPr lang="en-US" sz="1600" dirty="0"/>
              <a:t>4 – four</a:t>
            </a:r>
          </a:p>
          <a:p>
            <a:pPr fontAlgn="base"/>
            <a:r>
              <a:rPr lang="en-US" sz="1600" dirty="0"/>
              <a:t>5 – five</a:t>
            </a:r>
          </a:p>
          <a:p>
            <a:pPr fontAlgn="base"/>
            <a:r>
              <a:rPr lang="en-US" sz="1600" dirty="0"/>
              <a:t>6 – six</a:t>
            </a:r>
          </a:p>
          <a:p>
            <a:pPr fontAlgn="base"/>
            <a:r>
              <a:rPr lang="en-US" sz="1600" dirty="0"/>
              <a:t>7 – seven</a:t>
            </a:r>
          </a:p>
          <a:p>
            <a:pPr fontAlgn="base"/>
            <a:r>
              <a:rPr lang="en-US" sz="1600" dirty="0"/>
              <a:t>8 – eight</a:t>
            </a:r>
          </a:p>
          <a:p>
            <a:pPr fontAlgn="base"/>
            <a:r>
              <a:rPr lang="en-US" sz="1600" dirty="0"/>
              <a:t>9 – </a:t>
            </a:r>
            <a:r>
              <a:rPr lang="en-US" sz="1600" dirty="0" smtClean="0"/>
              <a:t>nine</a:t>
            </a:r>
          </a:p>
          <a:p>
            <a:pPr fontAlgn="base"/>
            <a:r>
              <a:rPr lang="sr-Latn-RS" sz="1600" dirty="0"/>
              <a:t>10 – ten</a:t>
            </a:r>
            <a:endParaRPr lang="en-US" sz="1600" dirty="0" smtClean="0"/>
          </a:p>
          <a:p>
            <a:pPr fontAlgn="base"/>
            <a:endParaRPr lang="en-US" sz="1600" dirty="0"/>
          </a:p>
        </p:txBody>
      </p:sp>
      <p:sp>
        <p:nvSpPr>
          <p:cNvPr id="6" name="Rectangle 5"/>
          <p:cNvSpPr/>
          <p:nvPr/>
        </p:nvSpPr>
        <p:spPr>
          <a:xfrm>
            <a:off x="7164937" y="4268180"/>
            <a:ext cx="188518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en-US" sz="1600" dirty="0" smtClean="0"/>
              <a:t>11 </a:t>
            </a:r>
            <a:r>
              <a:rPr lang="en-US" sz="1600" dirty="0"/>
              <a:t>– eleven</a:t>
            </a:r>
          </a:p>
          <a:p>
            <a:pPr fontAlgn="base"/>
            <a:r>
              <a:rPr lang="en-US" sz="1600" dirty="0"/>
              <a:t>12 – twelve</a:t>
            </a:r>
          </a:p>
          <a:p>
            <a:pPr fontAlgn="base"/>
            <a:r>
              <a:rPr lang="en-US" sz="1600" dirty="0"/>
              <a:t>13 – thirteen</a:t>
            </a:r>
          </a:p>
          <a:p>
            <a:pPr fontAlgn="base"/>
            <a:r>
              <a:rPr lang="en-US" sz="1600" dirty="0"/>
              <a:t>14 – fourteen</a:t>
            </a:r>
          </a:p>
          <a:p>
            <a:pPr fontAlgn="base"/>
            <a:r>
              <a:rPr lang="en-US" sz="1600" dirty="0"/>
              <a:t>15 – fifteen</a:t>
            </a:r>
          </a:p>
          <a:p>
            <a:pPr fontAlgn="base"/>
            <a:r>
              <a:rPr lang="en-US" sz="1600" dirty="0"/>
              <a:t>16 – sixteen</a:t>
            </a:r>
          </a:p>
          <a:p>
            <a:pPr fontAlgn="base"/>
            <a:r>
              <a:rPr lang="en-US" sz="1600" dirty="0"/>
              <a:t>17 – seventeen</a:t>
            </a:r>
          </a:p>
          <a:p>
            <a:pPr fontAlgn="base"/>
            <a:r>
              <a:rPr lang="en-US" sz="1600" dirty="0"/>
              <a:t>18 – eighteen</a:t>
            </a:r>
          </a:p>
          <a:p>
            <a:pPr fontAlgn="base"/>
            <a:r>
              <a:rPr lang="en-US" sz="1600" dirty="0"/>
              <a:t>19 – nineteen</a:t>
            </a:r>
          </a:p>
          <a:p>
            <a:pPr fontAlgn="base"/>
            <a:r>
              <a:rPr lang="en-US" sz="1600" dirty="0"/>
              <a:t>20 – twenty</a:t>
            </a:r>
          </a:p>
        </p:txBody>
      </p:sp>
    </p:spTree>
    <p:extLst>
      <p:ext uri="{BB962C8B-B14F-4D97-AF65-F5344CB8AC3E}">
        <p14:creationId xmlns:p14="http://schemas.microsoft.com/office/powerpoint/2010/main" val="764291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pPr/>
              <a:t>7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426" y="1128303"/>
            <a:ext cx="6560980" cy="5202057"/>
          </a:xfrm>
          <a:prstGeom prst="rect">
            <a:avLst/>
          </a:prstGeom>
        </p:spPr>
      </p:pic>
      <p:sp>
        <p:nvSpPr>
          <p:cNvPr id="8" name="Title 1"/>
          <p:cNvSpPr txBox="1">
            <a:spLocks/>
          </p:cNvSpPr>
          <p:nvPr/>
        </p:nvSpPr>
        <p:spPr>
          <a:xfrm>
            <a:off x="584200" y="207285"/>
            <a:ext cx="10896600" cy="7270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kern="1200">
                <a:solidFill>
                  <a:schemeClr val="tx1"/>
                </a:solidFill>
                <a:latin typeface="Bebas Neue" panose="020B0606020202050201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dirty="0" smtClean="0">
                <a:solidFill>
                  <a:schemeClr val="bg1"/>
                </a:solidFill>
              </a:rPr>
              <a:t>Indefinite Article 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7525407" y="1121489"/>
            <a:ext cx="4445876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100" dirty="0" smtClean="0"/>
              <a:t>* We use  -A- to refer something for the first time or to refer to a particular member of group or class</a:t>
            </a:r>
          </a:p>
          <a:p>
            <a:r>
              <a:rPr lang="en-US" sz="2100" dirty="0" smtClean="0"/>
              <a:t>Would you like a drink? </a:t>
            </a:r>
          </a:p>
          <a:p>
            <a:endParaRPr lang="en-US" sz="2100" dirty="0"/>
          </a:p>
          <a:p>
            <a:r>
              <a:rPr lang="en-US" sz="2100" dirty="0" smtClean="0"/>
              <a:t>* We use </a:t>
            </a:r>
            <a:r>
              <a:rPr lang="en-US" sz="2100" dirty="0"/>
              <a:t> </a:t>
            </a:r>
            <a:r>
              <a:rPr lang="en-US" sz="2100" dirty="0" smtClean="0"/>
              <a:t>-A- with names of jobs </a:t>
            </a:r>
          </a:p>
          <a:p>
            <a:r>
              <a:rPr lang="en-US" sz="2100" dirty="0" smtClean="0"/>
              <a:t>John is a doctor.</a:t>
            </a:r>
          </a:p>
          <a:p>
            <a:endParaRPr lang="en-US" sz="2100" dirty="0" smtClean="0"/>
          </a:p>
          <a:p>
            <a:r>
              <a:rPr lang="en-US" sz="2100" dirty="0" smtClean="0"/>
              <a:t>* We use  -A- with nationalities and religions  in the singular</a:t>
            </a:r>
            <a:br>
              <a:rPr lang="en-US" sz="2100" dirty="0" smtClean="0"/>
            </a:br>
            <a:r>
              <a:rPr lang="en-US" sz="2100" dirty="0" smtClean="0"/>
              <a:t>John is an Englishman.</a:t>
            </a:r>
            <a:br>
              <a:rPr lang="en-US" sz="2100" dirty="0" smtClean="0"/>
            </a:br>
            <a:r>
              <a:rPr lang="en-US" sz="2100" dirty="0" smtClean="0"/>
              <a:t>Kate is a Catholic.</a:t>
            </a:r>
          </a:p>
          <a:p>
            <a:endParaRPr lang="en-US" sz="2100" dirty="0" smtClean="0"/>
          </a:p>
          <a:p>
            <a:r>
              <a:rPr lang="en-US" sz="2100" dirty="0" smtClean="0"/>
              <a:t>* -A- meaning ONE </a:t>
            </a:r>
            <a:br>
              <a:rPr lang="en-US" sz="2100" dirty="0" smtClean="0"/>
            </a:br>
            <a:r>
              <a:rPr lang="en-US" sz="2100" dirty="0" smtClean="0"/>
              <a:t>I’d like </a:t>
            </a:r>
            <a:r>
              <a:rPr lang="en-US" sz="2100" b="1" dirty="0" smtClean="0"/>
              <a:t>an</a:t>
            </a:r>
            <a:r>
              <a:rPr lang="en-US" sz="2100" dirty="0" smtClean="0"/>
              <a:t> orange. = I’d like </a:t>
            </a:r>
            <a:r>
              <a:rPr lang="en-US" sz="2100" b="1" dirty="0" smtClean="0"/>
              <a:t>one</a:t>
            </a:r>
            <a:r>
              <a:rPr lang="en-US" sz="2100" dirty="0" smtClean="0"/>
              <a:t> orange. </a:t>
            </a:r>
          </a:p>
          <a:p>
            <a:endParaRPr lang="en-US" sz="2100" dirty="0" smtClean="0"/>
          </a:p>
          <a:p>
            <a:endParaRPr lang="sr-Latn-RS" dirty="0"/>
          </a:p>
        </p:txBody>
      </p:sp>
    </p:spTree>
    <p:extLst>
      <p:ext uri="{BB962C8B-B14F-4D97-AF65-F5344CB8AC3E}">
        <p14:creationId xmlns:p14="http://schemas.microsoft.com/office/powerpoint/2010/main" val="5933937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974484" y="1820030"/>
            <a:ext cx="1548270" cy="17842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2044860" y="1907600"/>
            <a:ext cx="1407518" cy="16220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260484" y="1820030"/>
            <a:ext cx="1548270" cy="17842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4330860" y="1907600"/>
            <a:ext cx="1407518" cy="16220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6602724" y="1907600"/>
            <a:ext cx="1407518" cy="16220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6" name="Rectangle 95"/>
          <p:cNvSpPr/>
          <p:nvPr/>
        </p:nvSpPr>
        <p:spPr>
          <a:xfrm>
            <a:off x="8724055" y="1820030"/>
            <a:ext cx="1548270" cy="1784208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9" name="Rectangle 98"/>
          <p:cNvSpPr/>
          <p:nvPr/>
        </p:nvSpPr>
        <p:spPr>
          <a:xfrm>
            <a:off x="8794431" y="1907600"/>
            <a:ext cx="1407518" cy="162200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</a:t>
            </a:r>
            <a:r>
              <a:rPr lang="en-US" dirty="0" smtClean="0"/>
              <a:t>ocabulary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pPr/>
              <a:t>8</a:t>
            </a:fld>
            <a:endParaRPr lang="en-US" dirty="0"/>
          </a:p>
        </p:txBody>
      </p:sp>
      <p:pic>
        <p:nvPicPr>
          <p:cNvPr id="4" name="Picture Placeholder 3"/>
          <p:cNvPicPr>
            <a:picLocks noGrp="1" noChangeAspect="1"/>
          </p:cNvPicPr>
          <p:nvPr>
            <p:ph type="pic" sz="quarter" idx="13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17" r="6917"/>
          <a:stretch>
            <a:fillRect/>
          </a:stretch>
        </p:blipFill>
        <p:spPr>
          <a:solidFill>
            <a:schemeClr val="bg1">
              <a:lumMod val="85000"/>
            </a:schemeClr>
          </a:solidFill>
        </p:spPr>
      </p:pic>
      <p:pic>
        <p:nvPicPr>
          <p:cNvPr id="5" name="Picture Placeholder 4"/>
          <p:cNvPicPr>
            <a:picLocks noGrp="1" noChangeAspect="1"/>
          </p:cNvPicPr>
          <p:nvPr>
            <p:ph type="pic" sz="quarter" idx="14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17" r="6917"/>
          <a:stretch>
            <a:fillRect/>
          </a:stretch>
        </p:blipFill>
        <p:spPr>
          <a:solidFill>
            <a:schemeClr val="bg1">
              <a:lumMod val="85000"/>
            </a:schemeClr>
          </a:solidFill>
        </p:spPr>
      </p:pic>
      <p:pic>
        <p:nvPicPr>
          <p:cNvPr id="14" name="Picture Placeholder 13"/>
          <p:cNvPicPr>
            <a:picLocks noGrp="1" noChangeAspect="1"/>
          </p:cNvPicPr>
          <p:nvPr>
            <p:ph type="pic" sz="quarter" idx="15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17" r="6917"/>
          <a:stretch>
            <a:fillRect/>
          </a:stretch>
        </p:blipFill>
        <p:spPr>
          <a:xfrm>
            <a:off x="3521267" y="203176"/>
            <a:ext cx="1169613" cy="1357152"/>
          </a:xfrm>
          <a:solidFill>
            <a:schemeClr val="bg1">
              <a:lumMod val="85000"/>
            </a:schemeClr>
          </a:solidFill>
        </p:spPr>
      </p:pic>
      <p:sp>
        <p:nvSpPr>
          <p:cNvPr id="19" name="Rectangle 18"/>
          <p:cNvSpPr/>
          <p:nvPr/>
        </p:nvSpPr>
        <p:spPr>
          <a:xfrm>
            <a:off x="1836781" y="4492887"/>
            <a:ext cx="2120364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buClr>
                <a:srgbClr val="E24848"/>
              </a:buClr>
            </a:pPr>
            <a:r>
              <a:rPr lang="en-US" sz="16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I am/ I’m not not a lawyer, I am a teacher.</a:t>
            </a:r>
            <a:endParaRPr lang="en-US" sz="16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046136" y="4278203"/>
            <a:ext cx="1406242" cy="191105"/>
          </a:xfrm>
          <a:prstGeom prst="rect">
            <a:avLst/>
          </a:prstGeom>
          <a:gradFill>
            <a:gsLst>
              <a:gs pos="0">
                <a:schemeClr val="accent1">
                  <a:alpha val="59000"/>
                </a:schemeClr>
              </a:gs>
              <a:gs pos="100000">
                <a:schemeClr val="accent2">
                  <a:alpha val="63000"/>
                </a:schemeClr>
              </a:gs>
            </a:gsLst>
            <a:lin ang="18900000" scaled="1"/>
          </a:gradFill>
        </p:spPr>
        <p:txBody>
          <a:bodyPr wrap="square" anchor="ctr">
            <a:noAutofit/>
          </a:bodyPr>
          <a:lstStyle/>
          <a:p>
            <a:pPr algn="ctr">
              <a:buClr>
                <a:srgbClr val="E24848"/>
              </a:buClr>
              <a:defRPr/>
            </a:pPr>
            <a:endParaRPr lang="en-US" sz="1050" i="1" noProof="1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4106074" y="4615997"/>
            <a:ext cx="1823674" cy="584775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buClr>
                <a:srgbClr val="E24848"/>
              </a:buClr>
            </a:pPr>
            <a:r>
              <a:rPr lang="en-US" sz="16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He is not/isn’t famous.</a:t>
            </a:r>
            <a:endParaRPr lang="en-US" sz="16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4330863" y="4278203"/>
            <a:ext cx="1410117" cy="191105"/>
          </a:xfrm>
          <a:prstGeom prst="rect">
            <a:avLst/>
          </a:prstGeom>
          <a:gradFill>
            <a:gsLst>
              <a:gs pos="0">
                <a:schemeClr val="accent1">
                  <a:alpha val="59000"/>
                </a:schemeClr>
              </a:gs>
              <a:gs pos="100000">
                <a:schemeClr val="accent2">
                  <a:alpha val="63000"/>
                </a:schemeClr>
              </a:gs>
            </a:gsLst>
            <a:lin ang="18900000" scaled="1"/>
          </a:gradFill>
        </p:spPr>
        <p:txBody>
          <a:bodyPr wrap="square" anchor="ctr">
            <a:noAutofit/>
          </a:bodyPr>
          <a:lstStyle/>
          <a:p>
            <a:pPr algn="ctr">
              <a:buClr>
                <a:srgbClr val="E24848"/>
              </a:buClr>
              <a:defRPr/>
            </a:pPr>
            <a:endParaRPr lang="en-US" sz="1050" i="1" noProof="1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6411353" y="4492887"/>
            <a:ext cx="1823674" cy="830997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buClr>
                <a:srgbClr val="E24848"/>
              </a:buClr>
            </a:pPr>
            <a:r>
              <a:rPr lang="en-US" sz="16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He is not/isn’t a doctor, he is an engineer.</a:t>
            </a:r>
            <a:endParaRPr lang="en-US" sz="16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602724" y="4278203"/>
            <a:ext cx="1409248" cy="191105"/>
          </a:xfrm>
          <a:prstGeom prst="rect">
            <a:avLst/>
          </a:prstGeom>
          <a:gradFill>
            <a:gsLst>
              <a:gs pos="0">
                <a:schemeClr val="accent1">
                  <a:alpha val="59000"/>
                </a:schemeClr>
              </a:gs>
              <a:gs pos="100000">
                <a:schemeClr val="accent2">
                  <a:alpha val="63000"/>
                </a:schemeClr>
              </a:gs>
            </a:gsLst>
            <a:lin ang="18900000" scaled="1"/>
          </a:gradFill>
        </p:spPr>
        <p:txBody>
          <a:bodyPr wrap="square" anchor="ctr">
            <a:noAutofit/>
          </a:bodyPr>
          <a:lstStyle/>
          <a:p>
            <a:pPr algn="ctr">
              <a:buClr>
                <a:srgbClr val="E24848"/>
              </a:buClr>
              <a:defRPr/>
            </a:pPr>
            <a:endParaRPr lang="en-US" sz="1050" i="1" noProof="1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98" name="Rectangle 97"/>
          <p:cNvSpPr/>
          <p:nvPr/>
        </p:nvSpPr>
        <p:spPr>
          <a:xfrm>
            <a:off x="8610418" y="4488400"/>
            <a:ext cx="1823674" cy="107721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buClr>
                <a:srgbClr val="E24848"/>
              </a:buClr>
            </a:pPr>
            <a:r>
              <a:rPr lang="en-US" sz="1600" noProof="1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Open Sans Light" panose="020B0306030504020204" pitchFamily="34" charset="0"/>
                <a:cs typeface="Open Sans Light" panose="020B0306030504020204" pitchFamily="34" charset="0"/>
              </a:rPr>
              <a:t>The doctor is not/isn’t from Australia, he is from Italy.</a:t>
            </a:r>
            <a:endParaRPr lang="en-US" sz="1600" noProof="1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01" name="Rectangle 100"/>
          <p:cNvSpPr/>
          <p:nvPr/>
        </p:nvSpPr>
        <p:spPr>
          <a:xfrm>
            <a:off x="8794434" y="4278203"/>
            <a:ext cx="1410117" cy="191105"/>
          </a:xfrm>
          <a:prstGeom prst="rect">
            <a:avLst/>
          </a:prstGeom>
          <a:gradFill>
            <a:gsLst>
              <a:gs pos="0">
                <a:schemeClr val="accent1">
                  <a:alpha val="59000"/>
                </a:schemeClr>
              </a:gs>
              <a:gs pos="100000">
                <a:schemeClr val="accent2">
                  <a:alpha val="63000"/>
                </a:schemeClr>
              </a:gs>
            </a:gsLst>
            <a:lin ang="18900000" scaled="1"/>
          </a:gradFill>
        </p:spPr>
        <p:txBody>
          <a:bodyPr wrap="square" anchor="ctr">
            <a:noAutofit/>
          </a:bodyPr>
          <a:lstStyle/>
          <a:p>
            <a:pPr algn="ctr">
              <a:buClr>
                <a:srgbClr val="E24848"/>
              </a:buClr>
              <a:defRPr/>
            </a:pPr>
            <a:endParaRPr lang="en-US" sz="1050" i="1" noProof="1">
              <a:solidFill>
                <a:schemeClr val="bg1"/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2031148" y="4488400"/>
            <a:ext cx="143494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/>
          <p:cNvCxnSpPr/>
          <p:nvPr/>
        </p:nvCxnSpPr>
        <p:spPr>
          <a:xfrm>
            <a:off x="4300441" y="4488400"/>
            <a:ext cx="143494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/>
          <p:cNvCxnSpPr/>
          <p:nvPr/>
        </p:nvCxnSpPr>
        <p:spPr>
          <a:xfrm>
            <a:off x="6605720" y="4488400"/>
            <a:ext cx="143494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/>
          <p:nvPr/>
        </p:nvCxnSpPr>
        <p:spPr>
          <a:xfrm>
            <a:off x="8789412" y="4488400"/>
            <a:ext cx="1434940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8" name="Rectangle 117"/>
          <p:cNvSpPr/>
          <p:nvPr/>
        </p:nvSpPr>
        <p:spPr>
          <a:xfrm>
            <a:off x="1901393" y="3893051"/>
            <a:ext cx="16454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  <a:latin typeface="Bebas Neue" panose="020B0606020202050201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awyer</a:t>
            </a:r>
            <a:endParaRPr lang="en-US" sz="2000" dirty="0">
              <a:solidFill>
                <a:schemeClr val="tx2">
                  <a:lumMod val="50000"/>
                </a:schemeClr>
              </a:solidFill>
              <a:latin typeface="Bebas Neue" panose="020B0606020202050201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0" name="Rectangle 119"/>
          <p:cNvSpPr/>
          <p:nvPr/>
        </p:nvSpPr>
        <p:spPr>
          <a:xfrm>
            <a:off x="4183635" y="3893051"/>
            <a:ext cx="16454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  <a:latin typeface="Bebas Neue" panose="020B0606020202050201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musician</a:t>
            </a:r>
            <a:endParaRPr lang="en-US" sz="2000" dirty="0">
              <a:solidFill>
                <a:schemeClr val="tx2">
                  <a:lumMod val="50000"/>
                </a:schemeClr>
              </a:solidFill>
              <a:latin typeface="Bebas Neue" panose="020B0606020202050201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22" name="Rectangle 121"/>
          <p:cNvSpPr/>
          <p:nvPr/>
        </p:nvSpPr>
        <p:spPr>
          <a:xfrm>
            <a:off x="8748120" y="3893051"/>
            <a:ext cx="154827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  <a:latin typeface="Bebas Neue" panose="020B0606020202050201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octor</a:t>
            </a:r>
            <a:endParaRPr lang="en-US" sz="2000" dirty="0">
              <a:solidFill>
                <a:schemeClr val="tx2">
                  <a:lumMod val="50000"/>
                </a:schemeClr>
              </a:solidFill>
              <a:latin typeface="Bebas Neue" panose="020B0606020202050201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23" name="Picture Placeholder 22"/>
          <p:cNvPicPr>
            <a:picLocks noGrp="1" noChangeAspect="1"/>
          </p:cNvPicPr>
          <p:nvPr>
            <p:ph type="pic" sz="quarter" idx="16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622" r="7622"/>
          <a:stretch>
            <a:fillRect/>
          </a:stretch>
        </p:blipFill>
        <p:spPr/>
      </p:pic>
      <p:pic>
        <p:nvPicPr>
          <p:cNvPr id="24" name="Picture 2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14169" y="2044183"/>
            <a:ext cx="1348839" cy="1348839"/>
          </a:xfrm>
          <a:prstGeom prst="rect">
            <a:avLst/>
          </a:prstGeom>
        </p:spPr>
      </p:pic>
      <p:sp>
        <p:nvSpPr>
          <p:cNvPr id="61" name="Rectangle 60"/>
          <p:cNvSpPr/>
          <p:nvPr/>
        </p:nvSpPr>
        <p:spPr>
          <a:xfrm>
            <a:off x="6527651" y="3878093"/>
            <a:ext cx="164542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dirty="0" smtClean="0">
                <a:solidFill>
                  <a:schemeClr val="tx2">
                    <a:lumMod val="50000"/>
                  </a:schemeClr>
                </a:solidFill>
                <a:latin typeface="Bebas Neue" panose="020B0606020202050201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engineer</a:t>
            </a:r>
            <a:endParaRPr lang="en-US" sz="2000" dirty="0">
              <a:solidFill>
                <a:schemeClr val="tx2">
                  <a:lumMod val="50000"/>
                </a:schemeClr>
              </a:solidFill>
              <a:latin typeface="Bebas Neue" panose="020B0606020202050201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987117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DAFBFA-C652-4E4B-AC31-FEFC406FA02E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584200" y="207285"/>
            <a:ext cx="10896600" cy="727075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kern="1200">
                <a:solidFill>
                  <a:schemeClr val="tx1"/>
                </a:solidFill>
                <a:latin typeface="Bebas Neue" panose="020B0606020202050201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en-US" sz="3600" dirty="0" smtClean="0">
                <a:solidFill>
                  <a:schemeClr val="bg1"/>
                </a:solidFill>
              </a:rPr>
              <a:t>Be Negative yes/no questions and short answers</a:t>
            </a:r>
            <a:endParaRPr lang="en-US" sz="3600" dirty="0">
              <a:solidFill>
                <a:schemeClr val="bg1"/>
              </a:solidFill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3300" y="1584106"/>
            <a:ext cx="10058400" cy="38504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8965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>
        <p14:conveyor dir="l"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BiFfq1WE.qdOU75Po4Mw"/>
</p:tagLst>
</file>

<file path=ppt/theme/theme1.xml><?xml version="1.0" encoding="utf-8"?>
<a:theme xmlns:a="http://schemas.openxmlformats.org/drawingml/2006/main" name="Office Theme">
  <a:themeElements>
    <a:clrScheme name="4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53A1"/>
      </a:accent1>
      <a:accent2>
        <a:srgbClr val="8A3BFF"/>
      </a:accent2>
      <a:accent3>
        <a:srgbClr val="FFC000"/>
      </a:accent3>
      <a:accent4>
        <a:srgbClr val="92D050"/>
      </a:accent4>
      <a:accent5>
        <a:srgbClr val="00B050"/>
      </a:accent5>
      <a:accent6>
        <a:srgbClr val="A5A5A5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306</TotalTime>
  <Words>1286</Words>
  <Application>Microsoft Office PowerPoint</Application>
  <PresentationFormat>Custom</PresentationFormat>
  <Paragraphs>264</Paragraphs>
  <Slides>21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2" baseType="lpstr">
      <vt:lpstr>Office Theme</vt:lpstr>
      <vt:lpstr>PowerPoint Presentation</vt:lpstr>
      <vt:lpstr>Greetings (Pozdravi)</vt:lpstr>
      <vt:lpstr>Countries and Nationalities </vt:lpstr>
      <vt:lpstr>To be (biti)</vt:lpstr>
      <vt:lpstr>Subject pronouns and possessive adjectives</vt:lpstr>
      <vt:lpstr>1B In the coffee break</vt:lpstr>
      <vt:lpstr>PowerPoint Presentation</vt:lpstr>
      <vt:lpstr>Vocabulary</vt:lpstr>
      <vt:lpstr>PowerPoint Presentation</vt:lpstr>
      <vt:lpstr>Be Negative yes/no questions and short answers</vt:lpstr>
      <vt:lpstr>1C Personal Details </vt:lpstr>
      <vt:lpstr>Vocabulary</vt:lpstr>
      <vt:lpstr>Vocabulary</vt:lpstr>
      <vt:lpstr>Questions </vt:lpstr>
      <vt:lpstr>Asking people to repeat things (pitati ljude da ponove ono šta su rekli)</vt:lpstr>
      <vt:lpstr>1D Lost Property</vt:lpstr>
      <vt:lpstr>Plural of the Nouns</vt:lpstr>
      <vt:lpstr>Review</vt:lpstr>
      <vt:lpstr>Review</vt:lpstr>
      <vt:lpstr>Review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ng island</dc:creator>
  <cp:lastModifiedBy>User</cp:lastModifiedBy>
  <cp:revision>770</cp:revision>
  <dcterms:created xsi:type="dcterms:W3CDTF">2014-10-27T11:58:08Z</dcterms:created>
  <dcterms:modified xsi:type="dcterms:W3CDTF">2020-03-27T17:23:32Z</dcterms:modified>
</cp:coreProperties>
</file>